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0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1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7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8.xml" ContentType="application/vnd.openxmlformats-officedocument.drawingml.chart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19.xml" ContentType="application/vnd.openxmlformats-officedocument.drawingml.chart+xml"/>
  <Override PartName="/ppt/drawings/drawing2.xml" ContentType="application/vnd.openxmlformats-officedocument.drawingml.chartshape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20.xml" ContentType="application/vnd.openxmlformats-officedocument.drawingml.chart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21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22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23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charts/chart24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charts/chart25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26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charts/chart27.xml" ContentType="application/vnd.openxmlformats-officedocument.drawingml.chart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28.xml" ContentType="application/vnd.openxmlformats-officedocument.drawingml.chart+xml"/>
  <Override PartName="/ppt/tags/tag9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1" r:id="rId1"/>
  </p:sldMasterIdLst>
  <p:notesMasterIdLst>
    <p:notesMasterId r:id="rId46"/>
  </p:notesMasterIdLst>
  <p:handoutMasterIdLst>
    <p:handoutMasterId r:id="rId47"/>
  </p:handoutMasterIdLst>
  <p:sldIdLst>
    <p:sldId id="696" r:id="rId2"/>
    <p:sldId id="800" r:id="rId3"/>
    <p:sldId id="818" r:id="rId4"/>
    <p:sldId id="837" r:id="rId5"/>
    <p:sldId id="838" r:id="rId6"/>
    <p:sldId id="839" r:id="rId7"/>
    <p:sldId id="840" r:id="rId8"/>
    <p:sldId id="802" r:id="rId9"/>
    <p:sldId id="801" r:id="rId10"/>
    <p:sldId id="804" r:id="rId11"/>
    <p:sldId id="805" r:id="rId12"/>
    <p:sldId id="806" r:id="rId13"/>
    <p:sldId id="807" r:id="rId14"/>
    <p:sldId id="814" r:id="rId15"/>
    <p:sldId id="808" r:id="rId16"/>
    <p:sldId id="809" r:id="rId17"/>
    <p:sldId id="810" r:id="rId18"/>
    <p:sldId id="811" r:id="rId19"/>
    <p:sldId id="815" r:id="rId20"/>
    <p:sldId id="816" r:id="rId21"/>
    <p:sldId id="841" r:id="rId22"/>
    <p:sldId id="842" r:id="rId23"/>
    <p:sldId id="843" r:id="rId24"/>
    <p:sldId id="844" r:id="rId25"/>
    <p:sldId id="819" r:id="rId26"/>
    <p:sldId id="820" r:id="rId27"/>
    <p:sldId id="831" r:id="rId28"/>
    <p:sldId id="832" r:id="rId29"/>
    <p:sldId id="787" r:id="rId30"/>
    <p:sldId id="825" r:id="rId31"/>
    <p:sldId id="826" r:id="rId32"/>
    <p:sldId id="827" r:id="rId33"/>
    <p:sldId id="828" r:id="rId34"/>
    <p:sldId id="829" r:id="rId35"/>
    <p:sldId id="830" r:id="rId36"/>
    <p:sldId id="821" r:id="rId37"/>
    <p:sldId id="822" r:id="rId38"/>
    <p:sldId id="823" r:id="rId39"/>
    <p:sldId id="824" r:id="rId40"/>
    <p:sldId id="833" r:id="rId41"/>
    <p:sldId id="834" r:id="rId42"/>
    <p:sldId id="835" r:id="rId43"/>
    <p:sldId id="836" r:id="rId44"/>
    <p:sldId id="778" r:id="rId45"/>
  </p:sldIdLst>
  <p:sldSz cx="9144000" cy="5143500" type="screen16x9"/>
  <p:notesSz cx="6858000" cy="9144000"/>
  <p:custDataLst>
    <p:tags r:id="rId48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1pPr>
    <a:lvl2pPr marL="34288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2pPr>
    <a:lvl3pPr marL="6857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3pPr>
    <a:lvl4pPr marL="10286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4pPr>
    <a:lvl5pPr marL="137153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5pPr>
    <a:lvl6pPr marL="1714415" algn="l" defTabSz="685766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6pPr>
    <a:lvl7pPr marL="2057297" algn="l" defTabSz="685766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7pPr>
    <a:lvl8pPr marL="2400180" algn="l" defTabSz="685766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8pPr>
    <a:lvl9pPr marL="2743064" algn="l" defTabSz="685766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545" userDrawn="1">
          <p15:clr>
            <a:srgbClr val="A4A3A4"/>
          </p15:clr>
        </p15:guide>
        <p15:guide id="3" orient="horz" pos="324" userDrawn="1">
          <p15:clr>
            <a:srgbClr val="A4A3A4"/>
          </p15:clr>
        </p15:guide>
        <p15:guide id="4" pos="6972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6" pos="56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EC9"/>
    <a:srgbClr val="FFC42F"/>
    <a:srgbClr val="F0A22E"/>
    <a:srgbClr val="C3986D"/>
    <a:srgbClr val="A5644E"/>
    <a:srgbClr val="F8C390"/>
    <a:srgbClr val="CDABA4"/>
    <a:srgbClr val="EFDDC1"/>
    <a:srgbClr val="E9CEA7"/>
    <a:srgbClr val="DCB2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主题样式 1 - 强调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0892" autoAdjust="0"/>
  </p:normalViewPr>
  <p:slideViewPr>
    <p:cSldViewPr>
      <p:cViewPr varScale="1">
        <p:scale>
          <a:sx n="143" d="100"/>
          <a:sy n="143" d="100"/>
        </p:scale>
        <p:origin x="606" y="114"/>
      </p:cViewPr>
      <p:guideLst>
        <p:guide orient="horz" pos="1620"/>
        <p:guide pos="3545"/>
        <p:guide orient="horz" pos="324"/>
        <p:guide pos="6972"/>
        <p:guide pos="2880"/>
        <p:guide pos="5664"/>
      </p:guideLst>
    </p:cSldViewPr>
  </p:slideViewPr>
  <p:outlineViewPr>
    <p:cViewPr>
      <p:scale>
        <a:sx n="33" d="100"/>
        <a:sy n="33" d="100"/>
      </p:scale>
      <p:origin x="246" y="4866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3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7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9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(Mn)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16M03 MAT</c:v>
                </c:pt>
                <c:pt idx="1">
                  <c:v>17M03 MAT</c:v>
                </c:pt>
                <c:pt idx="2">
                  <c:v>18M03 MAT</c:v>
                </c:pt>
                <c:pt idx="3">
                  <c:v>19M03 MAT</c:v>
                </c:pt>
                <c:pt idx="4">
                  <c:v>20M03 MA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2" formatCode="_ * #,##0_ ;_ * \-#,##0_ ;_ * &quot;-&quot;??_ ;_ @_ ">
                  <c:v>1976.8806386000001</c:v>
                </c:pt>
                <c:pt idx="3" formatCode="_ * #,##0_ ;_ * \-#,##0_ ;_ * &quot;-&quot;??_ ;_ @_ ">
                  <c:v>7643.2161844900002</c:v>
                </c:pt>
                <c:pt idx="4" formatCode="_ * #,##0_ ;_ * \-#,##0_ ;_ * &quot;-&quot;??_ ;_ @_ ">
                  <c:v>5182.82509068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F2-4878-9706-C7498174C9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84965960"/>
        <c:axId val="2849585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%</c:v>
                </c:pt>
              </c:strCache>
            </c:strRef>
          </c:tx>
          <c:spPr>
            <a:ln w="19050" cap="flat" cmpd="sng" algn="ctr">
              <a:solidFill>
                <a:schemeClr val="accent2"/>
              </a:solidFill>
              <a:prstDash val="solid"/>
              <a:miter lim="800000"/>
            </a:ln>
            <a:effectLst/>
          </c:spPr>
          <c:marker>
            <c:symbol val="circle"/>
            <c:size val="4"/>
            <c:spPr>
              <a:ln w="19050">
                <a:solidFill>
                  <a:schemeClr val="accent2"/>
                </a:solidFill>
                <a:prstDash val="solid"/>
              </a:ln>
            </c:spPr>
          </c:marker>
          <c:cat>
            <c:strRef>
              <c:f>Sheet1!$A$2:$A$6</c:f>
              <c:strCache>
                <c:ptCount val="5"/>
                <c:pt idx="0">
                  <c:v>16M03 MAT</c:v>
                </c:pt>
                <c:pt idx="1">
                  <c:v>17M03 MAT</c:v>
                </c:pt>
                <c:pt idx="2">
                  <c:v>18M03 MAT</c:v>
                </c:pt>
                <c:pt idx="3">
                  <c:v>19M03 MAT</c:v>
                </c:pt>
                <c:pt idx="4">
                  <c:v>20M03 MA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3" formatCode="0%">
                  <c:v>2.8663013007719198</c:v>
                </c:pt>
                <c:pt idx="4" formatCode="0%">
                  <c:v>-0.32190520775831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1F2-4878-9706-C7498174C9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5936288"/>
        <c:axId val="415935504"/>
      </c:lineChart>
      <c:catAx>
        <c:axId val="284965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284958512"/>
        <c:crosses val="autoZero"/>
        <c:auto val="1"/>
        <c:lblAlgn val="ctr"/>
        <c:lblOffset val="100"/>
        <c:noMultiLvlLbl val="0"/>
      </c:catAx>
      <c:valAx>
        <c:axId val="284958512"/>
        <c:scaling>
          <c:orientation val="minMax"/>
        </c:scaling>
        <c:delete val="0"/>
        <c:axPos val="l"/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284965960"/>
        <c:crosses val="autoZero"/>
        <c:crossBetween val="between"/>
      </c:valAx>
      <c:valAx>
        <c:axId val="415935504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15936288"/>
        <c:crosses val="max"/>
        <c:crossBetween val="between"/>
      </c:valAx>
      <c:catAx>
        <c:axId val="415936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5935504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 rtl="0">
              <a:defRPr sz="700"/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+mn-lt"/>
        </a:defRPr>
      </a:pPr>
      <a:endParaRPr lang="zh-CN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ENTECAVIR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4.5793718571428599</c:v>
                </c:pt>
                <c:pt idx="1">
                  <c:v>4.3344431785714299</c:v>
                </c:pt>
                <c:pt idx="2">
                  <c:v>4.36259870238095</c:v>
                </c:pt>
                <c:pt idx="3">
                  <c:v>4.4625742380952396</c:v>
                </c:pt>
                <c:pt idx="4">
                  <c:v>4.5646049761904797</c:v>
                </c:pt>
                <c:pt idx="5">
                  <c:v>5.1215818928571402</c:v>
                </c:pt>
                <c:pt idx="6">
                  <c:v>3.80737305952381</c:v>
                </c:pt>
                <c:pt idx="7">
                  <c:v>4.5102553452381002</c:v>
                </c:pt>
                <c:pt idx="8">
                  <c:v>4.3446704880952396</c:v>
                </c:pt>
                <c:pt idx="9">
                  <c:v>6.1545511071428596</c:v>
                </c:pt>
                <c:pt idx="10">
                  <c:v>2.7557636428571399</c:v>
                </c:pt>
                <c:pt idx="11">
                  <c:v>4.54595671428571</c:v>
                </c:pt>
                <c:pt idx="12">
                  <c:v>4.5776036904761899</c:v>
                </c:pt>
                <c:pt idx="13">
                  <c:v>3.9666178928571401</c:v>
                </c:pt>
                <c:pt idx="14">
                  <c:v>3.9998904285714301</c:v>
                </c:pt>
                <c:pt idx="15">
                  <c:v>4.3128195119047597</c:v>
                </c:pt>
                <c:pt idx="16">
                  <c:v>4.1586565369047603</c:v>
                </c:pt>
                <c:pt idx="17">
                  <c:v>4.7793044797619002</c:v>
                </c:pt>
                <c:pt idx="18">
                  <c:v>3.4742929476190501</c:v>
                </c:pt>
                <c:pt idx="19">
                  <c:v>3.4457450797618998</c:v>
                </c:pt>
                <c:pt idx="20">
                  <c:v>3.4395162297619</c:v>
                </c:pt>
                <c:pt idx="21">
                  <c:v>3.8906581011904802</c:v>
                </c:pt>
                <c:pt idx="22">
                  <c:v>1.53111244047619</c:v>
                </c:pt>
                <c:pt idx="23">
                  <c:v>2.3283984761904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TENOFOVIR DISOPROXIL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0.146026766666667</c:v>
                </c:pt>
                <c:pt idx="1">
                  <c:v>0.153857847619048</c:v>
                </c:pt>
                <c:pt idx="2">
                  <c:v>0.15542801428571401</c:v>
                </c:pt>
                <c:pt idx="3">
                  <c:v>0.17153844761904799</c:v>
                </c:pt>
                <c:pt idx="4">
                  <c:v>0.185163185714286</c:v>
                </c:pt>
                <c:pt idx="5">
                  <c:v>0.217334828571429</c:v>
                </c:pt>
                <c:pt idx="6">
                  <c:v>0.15502537142857101</c:v>
                </c:pt>
                <c:pt idx="7">
                  <c:v>0.20873087619047601</c:v>
                </c:pt>
                <c:pt idx="8">
                  <c:v>0.20167675714285699</c:v>
                </c:pt>
                <c:pt idx="9">
                  <c:v>0.27486205238095202</c:v>
                </c:pt>
                <c:pt idx="10">
                  <c:v>0.16504223809523799</c:v>
                </c:pt>
                <c:pt idx="11">
                  <c:v>0.22918092857142799</c:v>
                </c:pt>
                <c:pt idx="12">
                  <c:v>0.22746472380952401</c:v>
                </c:pt>
                <c:pt idx="13">
                  <c:v>0.213738304761905</c:v>
                </c:pt>
                <c:pt idx="14">
                  <c:v>0.20336947142857101</c:v>
                </c:pt>
                <c:pt idx="15">
                  <c:v>0.232543804761905</c:v>
                </c:pt>
                <c:pt idx="16">
                  <c:v>0.23615704761904799</c:v>
                </c:pt>
                <c:pt idx="17">
                  <c:v>0.28320077619047601</c:v>
                </c:pt>
                <c:pt idx="18">
                  <c:v>0.19006010000000001</c:v>
                </c:pt>
                <c:pt idx="19">
                  <c:v>0.19844461904761901</c:v>
                </c:pt>
                <c:pt idx="20">
                  <c:v>0.213741457142857</c:v>
                </c:pt>
                <c:pt idx="21">
                  <c:v>0.19280741428571399</c:v>
                </c:pt>
                <c:pt idx="22">
                  <c:v>9.2703809523809494E-2</c:v>
                </c:pt>
                <c:pt idx="23">
                  <c:v>0.109672533333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ADEFOVIR DIPIVOXIL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0.44194503333333301</c:v>
                </c:pt>
                <c:pt idx="1">
                  <c:v>0.41623280714285699</c:v>
                </c:pt>
                <c:pt idx="2">
                  <c:v>0.37525268095238101</c:v>
                </c:pt>
                <c:pt idx="3">
                  <c:v>0.39730858571428601</c:v>
                </c:pt>
                <c:pt idx="4">
                  <c:v>0.39668594285714298</c:v>
                </c:pt>
                <c:pt idx="5">
                  <c:v>0.43055750476190502</c:v>
                </c:pt>
                <c:pt idx="6">
                  <c:v>0.30244405000000002</c:v>
                </c:pt>
                <c:pt idx="7">
                  <c:v>0.34626203809523798</c:v>
                </c:pt>
                <c:pt idx="8">
                  <c:v>0.33359844523809501</c:v>
                </c:pt>
                <c:pt idx="9">
                  <c:v>0.49325251666666697</c:v>
                </c:pt>
                <c:pt idx="10">
                  <c:v>0.212023566666667</c:v>
                </c:pt>
                <c:pt idx="11">
                  <c:v>0.28069361904761903</c:v>
                </c:pt>
                <c:pt idx="12">
                  <c:v>0.31481264523809499</c:v>
                </c:pt>
                <c:pt idx="13">
                  <c:v>0.27623765238095199</c:v>
                </c:pt>
                <c:pt idx="14">
                  <c:v>0.25104599285714302</c:v>
                </c:pt>
                <c:pt idx="15">
                  <c:v>0.27104309047619102</c:v>
                </c:pt>
                <c:pt idx="16">
                  <c:v>0.26844610238095201</c:v>
                </c:pt>
                <c:pt idx="17">
                  <c:v>0.30165761428571403</c:v>
                </c:pt>
                <c:pt idx="18">
                  <c:v>0.21089348333333299</c:v>
                </c:pt>
                <c:pt idx="19">
                  <c:v>0.197221564285714</c:v>
                </c:pt>
                <c:pt idx="20">
                  <c:v>0.20677199047618999</c:v>
                </c:pt>
                <c:pt idx="21">
                  <c:v>0.263935697619048</c:v>
                </c:pt>
                <c:pt idx="22">
                  <c:v>0.15038849761904799</c:v>
                </c:pt>
                <c:pt idx="23">
                  <c:v>0.156018823809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LAMIVUDIN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0.252472785714286</c:v>
                </c:pt>
                <c:pt idx="1">
                  <c:v>0.2242025</c:v>
                </c:pt>
                <c:pt idx="2">
                  <c:v>0.21870614285714299</c:v>
                </c:pt>
                <c:pt idx="3">
                  <c:v>0.223798142857143</c:v>
                </c:pt>
                <c:pt idx="4">
                  <c:v>0.22436049999999999</c:v>
                </c:pt>
                <c:pt idx="5">
                  <c:v>0.246752142857143</c:v>
                </c:pt>
                <c:pt idx="6">
                  <c:v>0.171072</c:v>
                </c:pt>
                <c:pt idx="7">
                  <c:v>0.191277071428571</c:v>
                </c:pt>
                <c:pt idx="8">
                  <c:v>0.20057621428571401</c:v>
                </c:pt>
                <c:pt idx="9">
                  <c:v>0.26464528571428603</c:v>
                </c:pt>
                <c:pt idx="10">
                  <c:v>0.115205428571429</c:v>
                </c:pt>
                <c:pt idx="11">
                  <c:v>0.1644275</c:v>
                </c:pt>
                <c:pt idx="12">
                  <c:v>0.18397535714285701</c:v>
                </c:pt>
                <c:pt idx="13">
                  <c:v>0.15041935714285701</c:v>
                </c:pt>
                <c:pt idx="14">
                  <c:v>0.138480214285714</c:v>
                </c:pt>
                <c:pt idx="15">
                  <c:v>0.13979178571428599</c:v>
                </c:pt>
                <c:pt idx="16">
                  <c:v>0.14828421428571401</c:v>
                </c:pt>
                <c:pt idx="17">
                  <c:v>0.163414857142857</c:v>
                </c:pt>
                <c:pt idx="18">
                  <c:v>0.124337714285714</c:v>
                </c:pt>
                <c:pt idx="19">
                  <c:v>0.123438357142857</c:v>
                </c:pt>
                <c:pt idx="20">
                  <c:v>0.135097071428571</c:v>
                </c:pt>
                <c:pt idx="21">
                  <c:v>0.16928099999999999</c:v>
                </c:pt>
                <c:pt idx="22">
                  <c:v>7.1466428571428597E-2</c:v>
                </c:pt>
                <c:pt idx="23">
                  <c:v>0.12160071428571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TELBIVUDINE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5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0.22615757142857201</c:v>
                </c:pt>
                <c:pt idx="1">
                  <c:v>0.17787428571428601</c:v>
                </c:pt>
                <c:pt idx="2">
                  <c:v>0.196999571428571</c:v>
                </c:pt>
                <c:pt idx="3">
                  <c:v>0.17911557142857101</c:v>
                </c:pt>
                <c:pt idx="4">
                  <c:v>0.18473971428571401</c:v>
                </c:pt>
                <c:pt idx="5">
                  <c:v>0.190065714285714</c:v>
                </c:pt>
                <c:pt idx="6">
                  <c:v>0.16710057142857099</c:v>
                </c:pt>
                <c:pt idx="7">
                  <c:v>0.19745071428571401</c:v>
                </c:pt>
                <c:pt idx="8">
                  <c:v>0.22720842857142801</c:v>
                </c:pt>
                <c:pt idx="9">
                  <c:v>0.20658671428571401</c:v>
                </c:pt>
                <c:pt idx="10">
                  <c:v>0.126403428571429</c:v>
                </c:pt>
                <c:pt idx="11">
                  <c:v>0.19338914285714301</c:v>
                </c:pt>
                <c:pt idx="12">
                  <c:v>0.15877914285714301</c:v>
                </c:pt>
                <c:pt idx="13">
                  <c:v>0.13264985714285699</c:v>
                </c:pt>
                <c:pt idx="14">
                  <c:v>0.140777571428571</c:v>
                </c:pt>
                <c:pt idx="15">
                  <c:v>0.148452142857143</c:v>
                </c:pt>
                <c:pt idx="16">
                  <c:v>0.14144300000000001</c:v>
                </c:pt>
                <c:pt idx="17">
                  <c:v>0.16636242857142899</c:v>
                </c:pt>
                <c:pt idx="18">
                  <c:v>0.124255428571429</c:v>
                </c:pt>
                <c:pt idx="19">
                  <c:v>0.113185571428571</c:v>
                </c:pt>
                <c:pt idx="20">
                  <c:v>0.119318857142857</c:v>
                </c:pt>
                <c:pt idx="21">
                  <c:v>0.13930600000000001</c:v>
                </c:pt>
                <c:pt idx="22">
                  <c:v>7.5331999999999996E-2</c:v>
                </c:pt>
                <c:pt idx="23">
                  <c:v>7.57345714285714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7:$Y$7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8:$Y$8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9:$Y$9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0:$Y$10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rgbClr val="1482AC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1:$Y$11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2:$Y$12</c:f>
              <c:numCache>
                <c:formatCode>General</c:formatCode>
                <c:ptCount val="24"/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539152"/>
        <c:axId val="421539936"/>
        <c:extLst/>
      </c:lineChart>
      <c:catAx>
        <c:axId val="4215391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539936"/>
        <c:crosses val="autoZero"/>
        <c:auto val="1"/>
        <c:lblAlgn val="ctr"/>
        <c:lblOffset val="100"/>
        <c:noMultiLvlLbl val="0"/>
      </c:catAx>
      <c:valAx>
        <c:axId val="4215399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olume (</a:t>
                </a:r>
                <a:r>
                  <a:rPr lang="en-US" dirty="0" err="1"/>
                  <a:t>Mn</a:t>
                </a:r>
                <a:r>
                  <a:rPr lang="en-US" dirty="0"/>
                  <a:t>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53915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6805197879676804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ENTECAVIR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2:$Y$2</c:f>
              <c:numCache>
                <c:formatCode>0.0%</c:formatCode>
                <c:ptCount val="24"/>
                <c:pt idx="0">
                  <c:v>0.74457948866767598</c:v>
                </c:pt>
                <c:pt idx="1">
                  <c:v>0.74549534446237298</c:v>
                </c:pt>
                <c:pt idx="2">
                  <c:v>0.74537584308799998</c:v>
                </c:pt>
                <c:pt idx="3">
                  <c:v>0.73950226130971997</c:v>
                </c:pt>
                <c:pt idx="4">
                  <c:v>0.74099799324368099</c:v>
                </c:pt>
                <c:pt idx="5">
                  <c:v>0.74386368105560496</c:v>
                </c:pt>
                <c:pt idx="6">
                  <c:v>0.74916634621896905</c:v>
                </c:pt>
                <c:pt idx="7">
                  <c:v>0.73577263704707996</c:v>
                </c:pt>
                <c:pt idx="8">
                  <c:v>0.72679590062606902</c:v>
                </c:pt>
                <c:pt idx="9">
                  <c:v>0.74265657361990101</c:v>
                </c:pt>
                <c:pt idx="10">
                  <c:v>0.70065090433759403</c:v>
                </c:pt>
                <c:pt idx="11">
                  <c:v>0.72311764504564502</c:v>
                </c:pt>
                <c:pt idx="12">
                  <c:v>0.72731818028098605</c:v>
                </c:pt>
                <c:pt idx="13">
                  <c:v>0.72061155085893502</c:v>
                </c:pt>
                <c:pt idx="14">
                  <c:v>0.72815368302066796</c:v>
                </c:pt>
                <c:pt idx="15">
                  <c:v>0.72213157935147698</c:v>
                </c:pt>
                <c:pt idx="16">
                  <c:v>0.71726095704238002</c:v>
                </c:pt>
                <c:pt idx="17">
                  <c:v>0.70853479637521599</c:v>
                </c:pt>
                <c:pt idx="18">
                  <c:v>0.718533991390231</c:v>
                </c:pt>
                <c:pt idx="19">
                  <c:v>0.71218973615357095</c:v>
                </c:pt>
                <c:pt idx="20">
                  <c:v>0.64494444021246</c:v>
                </c:pt>
                <c:pt idx="21">
                  <c:v>0.63687364842498295</c:v>
                </c:pt>
                <c:pt idx="22">
                  <c:v>0.61851448998302505</c:v>
                </c:pt>
                <c:pt idx="23">
                  <c:v>0.62180262892288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TENOFOVIR DISOPROXIL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3:$Y$3</c:f>
              <c:numCache>
                <c:formatCode>0.0%</c:formatCode>
                <c:ptCount val="24"/>
                <c:pt idx="0">
                  <c:v>0.105601034961714</c:v>
                </c:pt>
                <c:pt idx="1">
                  <c:v>0.116653152118925</c:v>
                </c:pt>
                <c:pt idx="2">
                  <c:v>0.12049981965331</c:v>
                </c:pt>
                <c:pt idx="3">
                  <c:v>0.12845641914498601</c:v>
                </c:pt>
                <c:pt idx="4">
                  <c:v>0.13282593884344501</c:v>
                </c:pt>
                <c:pt idx="5">
                  <c:v>0.13772240997753801</c:v>
                </c:pt>
                <c:pt idx="6">
                  <c:v>0.131638443694436</c:v>
                </c:pt>
                <c:pt idx="7">
                  <c:v>0.14880100245744199</c:v>
                </c:pt>
                <c:pt idx="8">
                  <c:v>0.148121999456967</c:v>
                </c:pt>
                <c:pt idx="9">
                  <c:v>0.14622305456749701</c:v>
                </c:pt>
                <c:pt idx="10">
                  <c:v>0.18765664495987</c:v>
                </c:pt>
                <c:pt idx="11">
                  <c:v>0.16936214748272499</c:v>
                </c:pt>
                <c:pt idx="12">
                  <c:v>0.158578455452626</c:v>
                </c:pt>
                <c:pt idx="13">
                  <c:v>0.17172832974361199</c:v>
                </c:pt>
                <c:pt idx="14">
                  <c:v>0.16469554981947601</c:v>
                </c:pt>
                <c:pt idx="15">
                  <c:v>0.17219771864886499</c:v>
                </c:pt>
                <c:pt idx="16">
                  <c:v>0.17696700042958999</c:v>
                </c:pt>
                <c:pt idx="17">
                  <c:v>0.186922881674983</c:v>
                </c:pt>
                <c:pt idx="18">
                  <c:v>0.172276207158467</c:v>
                </c:pt>
                <c:pt idx="19">
                  <c:v>0.18207326242946401</c:v>
                </c:pt>
                <c:pt idx="20">
                  <c:v>0.223727795019771</c:v>
                </c:pt>
                <c:pt idx="21">
                  <c:v>0.19501538999749299</c:v>
                </c:pt>
                <c:pt idx="22">
                  <c:v>0.189265035687394</c:v>
                </c:pt>
                <c:pt idx="23">
                  <c:v>0.1881575472605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ADEFOVIR DIPIVOXIL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4:$Y$4</c:f>
              <c:numCache>
                <c:formatCode>0.0%</c:formatCode>
                <c:ptCount val="24"/>
                <c:pt idx="0">
                  <c:v>5.9240251830890198E-2</c:v>
                </c:pt>
                <c:pt idx="1">
                  <c:v>5.7633809130989998E-2</c:v>
                </c:pt>
                <c:pt idx="2">
                  <c:v>5.0660201897003002E-2</c:v>
                </c:pt>
                <c:pt idx="3">
                  <c:v>5.3324806538321598E-2</c:v>
                </c:pt>
                <c:pt idx="4">
                  <c:v>5.0134141601820802E-2</c:v>
                </c:pt>
                <c:pt idx="5">
                  <c:v>4.6989867049291097E-2</c:v>
                </c:pt>
                <c:pt idx="6">
                  <c:v>4.5292251205364099E-2</c:v>
                </c:pt>
                <c:pt idx="7">
                  <c:v>4.35135518868046E-2</c:v>
                </c:pt>
                <c:pt idx="8">
                  <c:v>4.3429480582671098E-2</c:v>
                </c:pt>
                <c:pt idx="9">
                  <c:v>4.60920744669715E-2</c:v>
                </c:pt>
                <c:pt idx="10">
                  <c:v>4.2421870266014197E-2</c:v>
                </c:pt>
                <c:pt idx="11">
                  <c:v>3.7847561719719501E-2</c:v>
                </c:pt>
                <c:pt idx="12">
                  <c:v>4.4635505440249898E-2</c:v>
                </c:pt>
                <c:pt idx="13">
                  <c:v>4.2651005817426098E-2</c:v>
                </c:pt>
                <c:pt idx="14">
                  <c:v>4.07001243072041E-2</c:v>
                </c:pt>
                <c:pt idx="15">
                  <c:v>4.1162594554535498E-2</c:v>
                </c:pt>
                <c:pt idx="16">
                  <c:v>4.0819866149895898E-2</c:v>
                </c:pt>
                <c:pt idx="17">
                  <c:v>4.0232971518262897E-2</c:v>
                </c:pt>
                <c:pt idx="18">
                  <c:v>4.06315941466492E-2</c:v>
                </c:pt>
                <c:pt idx="19">
                  <c:v>3.8668787853052902E-2</c:v>
                </c:pt>
                <c:pt idx="20">
                  <c:v>4.8186966671352097E-2</c:v>
                </c:pt>
                <c:pt idx="21">
                  <c:v>6.0220186995868001E-2</c:v>
                </c:pt>
                <c:pt idx="22">
                  <c:v>8.1685373786155799E-2</c:v>
                </c:pt>
                <c:pt idx="23">
                  <c:v>6.63268232868313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LAMIVUDIN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5:$Y$5</c:f>
              <c:numCache>
                <c:formatCode>0.0%</c:formatCode>
                <c:ptCount val="24"/>
                <c:pt idx="0">
                  <c:v>4.6997441325065302E-2</c:v>
                </c:pt>
                <c:pt idx="1">
                  <c:v>4.4139013229646903E-2</c:v>
                </c:pt>
                <c:pt idx="2">
                  <c:v>4.3102816478272098E-2</c:v>
                </c:pt>
                <c:pt idx="3">
                  <c:v>4.2898736845821503E-2</c:v>
                </c:pt>
                <c:pt idx="4">
                  <c:v>4.0576659937430398E-2</c:v>
                </c:pt>
                <c:pt idx="5">
                  <c:v>3.9224632503684402E-2</c:v>
                </c:pt>
                <c:pt idx="6">
                  <c:v>3.56330943945369E-2</c:v>
                </c:pt>
                <c:pt idx="7">
                  <c:v>3.4006494436825199E-2</c:v>
                </c:pt>
                <c:pt idx="8">
                  <c:v>3.6836430266340599E-2</c:v>
                </c:pt>
                <c:pt idx="9">
                  <c:v>3.54556427072008E-2</c:v>
                </c:pt>
                <c:pt idx="10">
                  <c:v>3.1099864017677802E-2</c:v>
                </c:pt>
                <c:pt idx="11">
                  <c:v>3.0403547264574698E-2</c:v>
                </c:pt>
                <c:pt idx="12">
                  <c:v>3.5979471164411601E-2</c:v>
                </c:pt>
                <c:pt idx="13">
                  <c:v>3.32773006803916E-2</c:v>
                </c:pt>
                <c:pt idx="14">
                  <c:v>3.1844381058220003E-2</c:v>
                </c:pt>
                <c:pt idx="15">
                  <c:v>3.06690854556677E-2</c:v>
                </c:pt>
                <c:pt idx="16">
                  <c:v>3.1489800205153601E-2</c:v>
                </c:pt>
                <c:pt idx="17">
                  <c:v>3.03190212639169E-2</c:v>
                </c:pt>
                <c:pt idx="18">
                  <c:v>3.2698085179600503E-2</c:v>
                </c:pt>
                <c:pt idx="19">
                  <c:v>3.3169343149349197E-2</c:v>
                </c:pt>
                <c:pt idx="20">
                  <c:v>4.21341761206242E-2</c:v>
                </c:pt>
                <c:pt idx="21">
                  <c:v>5.6400372742081803E-2</c:v>
                </c:pt>
                <c:pt idx="22">
                  <c:v>5.0346436683221502E-2</c:v>
                </c:pt>
                <c:pt idx="23">
                  <c:v>7.26511180494705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TELBIVUDINE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6:$Y$6</c:f>
              <c:numCache>
                <c:formatCode>0.0%</c:formatCode>
                <c:ptCount val="24"/>
                <c:pt idx="0">
                  <c:v>4.3581783214654501E-2</c:v>
                </c:pt>
                <c:pt idx="1">
                  <c:v>3.6078681058064901E-2</c:v>
                </c:pt>
                <c:pt idx="2">
                  <c:v>4.03613188834143E-2</c:v>
                </c:pt>
                <c:pt idx="3">
                  <c:v>3.5817776161151602E-2</c:v>
                </c:pt>
                <c:pt idx="4">
                  <c:v>3.5465266373622198E-2</c:v>
                </c:pt>
                <c:pt idx="5">
                  <c:v>3.2199409413882003E-2</c:v>
                </c:pt>
                <c:pt idx="6">
                  <c:v>3.8269864486694602E-2</c:v>
                </c:pt>
                <c:pt idx="7">
                  <c:v>3.7906314171848601E-2</c:v>
                </c:pt>
                <c:pt idx="8">
                  <c:v>4.4816189067952698E-2</c:v>
                </c:pt>
                <c:pt idx="9">
                  <c:v>2.957265463843E-2</c:v>
                </c:pt>
                <c:pt idx="10">
                  <c:v>3.8170716418844397E-2</c:v>
                </c:pt>
                <c:pt idx="11">
                  <c:v>3.9269098487335799E-2</c:v>
                </c:pt>
                <c:pt idx="12">
                  <c:v>3.3488387661726002E-2</c:v>
                </c:pt>
                <c:pt idx="13">
                  <c:v>3.1731812899634997E-2</c:v>
                </c:pt>
                <c:pt idx="14">
                  <c:v>3.4606261794432498E-2</c:v>
                </c:pt>
                <c:pt idx="15">
                  <c:v>3.3839021989454897E-2</c:v>
                </c:pt>
                <c:pt idx="16">
                  <c:v>3.34623761729805E-2</c:v>
                </c:pt>
                <c:pt idx="17">
                  <c:v>3.3990329167621999E-2</c:v>
                </c:pt>
                <c:pt idx="18">
                  <c:v>3.5860122125052997E-2</c:v>
                </c:pt>
                <c:pt idx="19">
                  <c:v>3.3898870414562403E-2</c:v>
                </c:pt>
                <c:pt idx="20">
                  <c:v>4.1006621975792801E-2</c:v>
                </c:pt>
                <c:pt idx="21">
                  <c:v>5.1490401839574797E-2</c:v>
                </c:pt>
                <c:pt idx="22">
                  <c:v>6.0188663860204203E-2</c:v>
                </c:pt>
                <c:pt idx="23">
                  <c:v>5.1061882480282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416968"/>
        <c:axId val="521419320"/>
        <c:extLst/>
      </c:lineChart>
      <c:catAx>
        <c:axId val="52141696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5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419320"/>
        <c:crosses val="autoZero"/>
        <c:auto val="1"/>
        <c:lblAlgn val="ctr"/>
        <c:lblOffset val="100"/>
        <c:noMultiLvlLbl val="0"/>
      </c:catAx>
      <c:valAx>
        <c:axId val="5214193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Value Share (%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5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41696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5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5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ENTECAVIR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0.81108624403086405</c:v>
                </c:pt>
                <c:pt idx="1">
                  <c:v>0.81680068309766696</c:v>
                </c:pt>
                <c:pt idx="2">
                  <c:v>0.82173873356667504</c:v>
                </c:pt>
                <c:pt idx="3">
                  <c:v>0.82118129445946897</c:v>
                </c:pt>
                <c:pt idx="4">
                  <c:v>0.82162907858544398</c:v>
                </c:pt>
                <c:pt idx="5">
                  <c:v>0.82522411515418004</c:v>
                </c:pt>
                <c:pt idx="6">
                  <c:v>0.82714764479303804</c:v>
                </c:pt>
                <c:pt idx="7">
                  <c:v>0.82696647506841003</c:v>
                </c:pt>
                <c:pt idx="8">
                  <c:v>0.81855524211734398</c:v>
                </c:pt>
                <c:pt idx="9">
                  <c:v>0.83238251010174102</c:v>
                </c:pt>
                <c:pt idx="10">
                  <c:v>0.81665847586198104</c:v>
                </c:pt>
                <c:pt idx="11">
                  <c:v>0.839721532367674</c:v>
                </c:pt>
                <c:pt idx="12">
                  <c:v>0.83798445651300801</c:v>
                </c:pt>
                <c:pt idx="13">
                  <c:v>0.83689870757826301</c:v>
                </c:pt>
                <c:pt idx="14">
                  <c:v>0.84500615185102601</c:v>
                </c:pt>
                <c:pt idx="15">
                  <c:v>0.84488049685410505</c:v>
                </c:pt>
                <c:pt idx="16">
                  <c:v>0.83962599131954196</c:v>
                </c:pt>
                <c:pt idx="17">
                  <c:v>0.83936682663685402</c:v>
                </c:pt>
                <c:pt idx="18">
                  <c:v>0.84248982075715895</c:v>
                </c:pt>
                <c:pt idx="19">
                  <c:v>0.84495226691598302</c:v>
                </c:pt>
                <c:pt idx="20">
                  <c:v>0.83596104048281605</c:v>
                </c:pt>
                <c:pt idx="21">
                  <c:v>0.83562455984054596</c:v>
                </c:pt>
                <c:pt idx="22">
                  <c:v>0.79703795363447805</c:v>
                </c:pt>
                <c:pt idx="23">
                  <c:v>0.83412535779748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TENOFOVIR DISOPROXIL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2.5863875089963701E-2</c:v>
                </c:pt>
                <c:pt idx="1">
                  <c:v>2.8993619216527398E-2</c:v>
                </c:pt>
                <c:pt idx="2">
                  <c:v>2.9276408015759099E-2</c:v>
                </c:pt>
                <c:pt idx="3">
                  <c:v>3.1565674193804003E-2</c:v>
                </c:pt>
                <c:pt idx="4">
                  <c:v>3.3329380846739302E-2</c:v>
                </c:pt>
                <c:pt idx="5">
                  <c:v>3.50184660427229E-2</c:v>
                </c:pt>
                <c:pt idx="6">
                  <c:v>3.3679092869440701E-2</c:v>
                </c:pt>
                <c:pt idx="7">
                  <c:v>3.8271322510248403E-2</c:v>
                </c:pt>
                <c:pt idx="8">
                  <c:v>3.7996797967729701E-2</c:v>
                </c:pt>
                <c:pt idx="9">
                  <c:v>3.7174175843148603E-2</c:v>
                </c:pt>
                <c:pt idx="10">
                  <c:v>4.8909543808323797E-2</c:v>
                </c:pt>
                <c:pt idx="11">
                  <c:v>4.2333918386129002E-2</c:v>
                </c:pt>
                <c:pt idx="12">
                  <c:v>4.1640106013104097E-2</c:v>
                </c:pt>
                <c:pt idx="13">
                  <c:v>4.5095674916739298E-2</c:v>
                </c:pt>
                <c:pt idx="14">
                  <c:v>4.2963290501237698E-2</c:v>
                </c:pt>
                <c:pt idx="15">
                  <c:v>4.5555285762656501E-2</c:v>
                </c:pt>
                <c:pt idx="16">
                  <c:v>4.7679723837405298E-2</c:v>
                </c:pt>
                <c:pt idx="17">
                  <c:v>4.9737223861480398E-2</c:v>
                </c:pt>
                <c:pt idx="18">
                  <c:v>4.6088139945660397E-2</c:v>
                </c:pt>
                <c:pt idx="19">
                  <c:v>4.8661821127275698E-2</c:v>
                </c:pt>
                <c:pt idx="20">
                  <c:v>5.19490297389366E-2</c:v>
                </c:pt>
                <c:pt idx="21">
                  <c:v>4.1410631956376599E-2</c:v>
                </c:pt>
                <c:pt idx="22">
                  <c:v>4.82580199100189E-2</c:v>
                </c:pt>
                <c:pt idx="23">
                  <c:v>3.9289083051151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ADEFOVIR DIPIVOXIL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7.8276136626754395E-2</c:v>
                </c:pt>
                <c:pt idx="1">
                  <c:v>7.8436658919127294E-2</c:v>
                </c:pt>
                <c:pt idx="2">
                  <c:v>7.0682564189325406E-2</c:v>
                </c:pt>
                <c:pt idx="3">
                  <c:v>7.3110801369206294E-2</c:v>
                </c:pt>
                <c:pt idx="4">
                  <c:v>7.1403485606661501E-2</c:v>
                </c:pt>
                <c:pt idx="5">
                  <c:v>6.9374354120094406E-2</c:v>
                </c:pt>
                <c:pt idx="6">
                  <c:v>6.5705640011661098E-2</c:v>
                </c:pt>
                <c:pt idx="7">
                  <c:v>6.3488001271579095E-2</c:v>
                </c:pt>
                <c:pt idx="8">
                  <c:v>6.2851430703449201E-2</c:v>
                </c:pt>
                <c:pt idx="9">
                  <c:v>6.6710757744865498E-2</c:v>
                </c:pt>
                <c:pt idx="10">
                  <c:v>6.2832254591072403E-2</c:v>
                </c:pt>
                <c:pt idx="11">
                  <c:v>5.1849256543026703E-2</c:v>
                </c:pt>
                <c:pt idx="12">
                  <c:v>5.7630175362739802E-2</c:v>
                </c:pt>
                <c:pt idx="13">
                  <c:v>5.82821286311377E-2</c:v>
                </c:pt>
                <c:pt idx="14">
                  <c:v>5.30353048789887E-2</c:v>
                </c:pt>
                <c:pt idx="15">
                  <c:v>5.30972882863021E-2</c:v>
                </c:pt>
                <c:pt idx="16">
                  <c:v>5.41988314801378E-2</c:v>
                </c:pt>
                <c:pt idx="17">
                  <c:v>5.29787117573347E-2</c:v>
                </c:pt>
                <c:pt idx="18">
                  <c:v>5.1140078183135103E-2</c:v>
                </c:pt>
                <c:pt idx="19">
                  <c:v>4.8361908374094001E-2</c:v>
                </c:pt>
                <c:pt idx="20">
                  <c:v>5.0255127975699303E-2</c:v>
                </c:pt>
                <c:pt idx="21">
                  <c:v>5.6687363785997799E-2</c:v>
                </c:pt>
                <c:pt idx="22">
                  <c:v>7.8286438816453002E-2</c:v>
                </c:pt>
                <c:pt idx="23">
                  <c:v>5.58921759157754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LAMIVUDIN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4.4717312739213297E-2</c:v>
                </c:pt>
                <c:pt idx="1">
                  <c:v>4.2249661053939902E-2</c:v>
                </c:pt>
                <c:pt idx="2">
                  <c:v>4.1195471120595302E-2</c:v>
                </c:pt>
                <c:pt idx="3">
                  <c:v>4.1182250164088302E-2</c:v>
                </c:pt>
                <c:pt idx="4">
                  <c:v>4.0384898988524702E-2</c:v>
                </c:pt>
                <c:pt idx="5">
                  <c:v>3.9758383837554603E-2</c:v>
                </c:pt>
                <c:pt idx="6">
                  <c:v>3.7165205425846101E-2</c:v>
                </c:pt>
                <c:pt idx="7">
                  <c:v>3.507112422974E-2</c:v>
                </c:pt>
                <c:pt idx="8">
                  <c:v>3.7789450798972599E-2</c:v>
                </c:pt>
                <c:pt idx="9">
                  <c:v>3.5792392227239699E-2</c:v>
                </c:pt>
                <c:pt idx="10">
                  <c:v>3.41406237621397E-2</c:v>
                </c:pt>
                <c:pt idx="11">
                  <c:v>3.0372773200740999E-2</c:v>
                </c:pt>
                <c:pt idx="12">
                  <c:v>3.36788634603504E-2</c:v>
                </c:pt>
                <c:pt idx="13">
                  <c:v>3.1736297517917803E-2</c:v>
                </c:pt>
                <c:pt idx="14">
                  <c:v>2.9254959622198901E-2</c:v>
                </c:pt>
                <c:pt idx="15">
                  <c:v>2.7385183415256399E-2</c:v>
                </c:pt>
                <c:pt idx="16">
                  <c:v>2.9938341700454198E-2</c:v>
                </c:pt>
                <c:pt idx="17">
                  <c:v>2.8699784800517301E-2</c:v>
                </c:pt>
                <c:pt idx="18">
                  <c:v>3.0150957389391799E-2</c:v>
                </c:pt>
                <c:pt idx="19">
                  <c:v>3.0269075998927E-2</c:v>
                </c:pt>
                <c:pt idx="20">
                  <c:v>3.2834817704996799E-2</c:v>
                </c:pt>
                <c:pt idx="21">
                  <c:v>3.6357695134168803E-2</c:v>
                </c:pt>
                <c:pt idx="22">
                  <c:v>3.7202660285628998E-2</c:v>
                </c:pt>
                <c:pt idx="23">
                  <c:v>4.35622340201632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TELBIVUDINE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4.00564315132051E-2</c:v>
                </c:pt>
                <c:pt idx="1">
                  <c:v>3.3519377712738399E-2</c:v>
                </c:pt>
                <c:pt idx="2">
                  <c:v>3.7106823107645098E-2</c:v>
                </c:pt>
                <c:pt idx="3">
                  <c:v>3.2959979813432197E-2</c:v>
                </c:pt>
                <c:pt idx="4">
                  <c:v>3.3253155972631003E-2</c:v>
                </c:pt>
                <c:pt idx="5">
                  <c:v>3.0624680845448098E-2</c:v>
                </c:pt>
                <c:pt idx="6">
                  <c:v>3.6302416900013602E-2</c:v>
                </c:pt>
                <c:pt idx="7">
                  <c:v>3.6203076920022399E-2</c:v>
                </c:pt>
                <c:pt idx="8">
                  <c:v>4.2807078412504501E-2</c:v>
                </c:pt>
                <c:pt idx="9">
                  <c:v>2.7940164083005401E-2</c:v>
                </c:pt>
                <c:pt idx="10">
                  <c:v>3.7459101976483597E-2</c:v>
                </c:pt>
                <c:pt idx="11">
                  <c:v>3.5722519502429301E-2</c:v>
                </c:pt>
                <c:pt idx="12">
                  <c:v>2.9066398650797801E-2</c:v>
                </c:pt>
                <c:pt idx="13">
                  <c:v>2.7987191355942499E-2</c:v>
                </c:pt>
                <c:pt idx="14">
                  <c:v>2.97402931465491E-2</c:v>
                </c:pt>
                <c:pt idx="15">
                  <c:v>2.90817456816795E-2</c:v>
                </c:pt>
                <c:pt idx="16">
                  <c:v>2.8557111662460399E-2</c:v>
                </c:pt>
                <c:pt idx="17">
                  <c:v>2.9217452943813501E-2</c:v>
                </c:pt>
                <c:pt idx="18">
                  <c:v>3.01310037246535E-2</c:v>
                </c:pt>
                <c:pt idx="19">
                  <c:v>2.77549275837203E-2</c:v>
                </c:pt>
                <c:pt idx="20">
                  <c:v>2.8999984097550901E-2</c:v>
                </c:pt>
                <c:pt idx="21">
                  <c:v>2.9919749282911402E-2</c:v>
                </c:pt>
                <c:pt idx="22">
                  <c:v>3.9214927353420699E-2</c:v>
                </c:pt>
                <c:pt idx="23">
                  <c:v>2.71311492154268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7:$Y$7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8:$Y$8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9:$Y$9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0:$Y$10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1:$Y$11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2:$Y$12</c:f>
              <c:numCache>
                <c:formatCode>General</c:formatCode>
                <c:ptCount val="24"/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906664"/>
        <c:axId val="421907056"/>
        <c:extLst/>
      </c:lineChart>
      <c:catAx>
        <c:axId val="42190666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907056"/>
        <c:crosses val="autoZero"/>
        <c:auto val="1"/>
        <c:lblAlgn val="ctr"/>
        <c:lblOffset val="100"/>
        <c:noMultiLvlLbl val="0"/>
      </c:catAx>
      <c:valAx>
        <c:axId val="42190705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olume Share (%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90666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TIAN DING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241.55530461000001</c:v>
                </c:pt>
                <c:pt idx="1">
                  <c:v>230.02994846999999</c:v>
                </c:pt>
                <c:pt idx="2">
                  <c:v>226.46082731999999</c:v>
                </c:pt>
                <c:pt idx="3">
                  <c:v>222.90282285000001</c:v>
                </c:pt>
                <c:pt idx="4">
                  <c:v>240.87119263</c:v>
                </c:pt>
                <c:pt idx="5">
                  <c:v>288.43174608999999</c:v>
                </c:pt>
                <c:pt idx="6">
                  <c:v>200.27097752</c:v>
                </c:pt>
                <c:pt idx="7">
                  <c:v>236.77366065000001</c:v>
                </c:pt>
                <c:pt idx="8">
                  <c:v>218.51912960999999</c:v>
                </c:pt>
                <c:pt idx="9">
                  <c:v>339.09484894000002</c:v>
                </c:pt>
                <c:pt idx="10">
                  <c:v>145.65797853999999</c:v>
                </c:pt>
                <c:pt idx="11">
                  <c:v>224.96987508000001</c:v>
                </c:pt>
                <c:pt idx="12">
                  <c:v>199.34584151000001</c:v>
                </c:pt>
                <c:pt idx="13">
                  <c:v>186.87629992999999</c:v>
                </c:pt>
                <c:pt idx="14">
                  <c:v>177.61257573</c:v>
                </c:pt>
                <c:pt idx="15">
                  <c:v>191.03583810999999</c:v>
                </c:pt>
                <c:pt idx="16">
                  <c:v>177.80063362999999</c:v>
                </c:pt>
                <c:pt idx="17">
                  <c:v>204.37164272999999</c:v>
                </c:pt>
                <c:pt idx="18">
                  <c:v>147.05483391999999</c:v>
                </c:pt>
                <c:pt idx="19">
                  <c:v>125.8739084</c:v>
                </c:pt>
                <c:pt idx="20">
                  <c:v>88.057407319999996</c:v>
                </c:pt>
                <c:pt idx="21">
                  <c:v>67.596668309999998</c:v>
                </c:pt>
                <c:pt idx="22">
                  <c:v>28.505059549999999</c:v>
                </c:pt>
                <c:pt idx="23">
                  <c:v>27.87946348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BARACLUDE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138.61826737000001</c:v>
                </c:pt>
                <c:pt idx="1">
                  <c:v>135.85400842999999</c:v>
                </c:pt>
                <c:pt idx="2">
                  <c:v>133.07609355</c:v>
                </c:pt>
                <c:pt idx="3">
                  <c:v>135.45119294</c:v>
                </c:pt>
                <c:pt idx="4">
                  <c:v>137.86032743999999</c:v>
                </c:pt>
                <c:pt idx="5">
                  <c:v>142.07931379999999</c:v>
                </c:pt>
                <c:pt idx="6">
                  <c:v>119.91543889</c:v>
                </c:pt>
                <c:pt idx="7">
                  <c:v>135.21993749999999</c:v>
                </c:pt>
                <c:pt idx="8">
                  <c:v>136.02522571</c:v>
                </c:pt>
                <c:pt idx="9">
                  <c:v>164.74682394999999</c:v>
                </c:pt>
                <c:pt idx="10">
                  <c:v>79.725391569999999</c:v>
                </c:pt>
                <c:pt idx="11">
                  <c:v>113.79939038000001</c:v>
                </c:pt>
                <c:pt idx="12">
                  <c:v>122.70540787</c:v>
                </c:pt>
                <c:pt idx="13">
                  <c:v>99.19175516</c:v>
                </c:pt>
                <c:pt idx="14">
                  <c:v>99.287394430000006</c:v>
                </c:pt>
                <c:pt idx="15">
                  <c:v>105.94531310000001</c:v>
                </c:pt>
                <c:pt idx="16">
                  <c:v>104.0433014</c:v>
                </c:pt>
                <c:pt idx="17">
                  <c:v>118.03658631</c:v>
                </c:pt>
                <c:pt idx="18">
                  <c:v>88.961615570000006</c:v>
                </c:pt>
                <c:pt idx="19">
                  <c:v>89.922236549999994</c:v>
                </c:pt>
                <c:pt idx="20">
                  <c:v>82.091276449999995</c:v>
                </c:pt>
                <c:pt idx="21">
                  <c:v>107.84593719</c:v>
                </c:pt>
                <c:pt idx="22">
                  <c:v>53.067932200000001</c:v>
                </c:pt>
                <c:pt idx="23">
                  <c:v>65.592420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VIREAD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64.193096220000001</c:v>
                </c:pt>
                <c:pt idx="1">
                  <c:v>66.105396400000004</c:v>
                </c:pt>
                <c:pt idx="2">
                  <c:v>66.142792020000002</c:v>
                </c:pt>
                <c:pt idx="3">
                  <c:v>72.645052390000004</c:v>
                </c:pt>
                <c:pt idx="4">
                  <c:v>75.755527389999997</c:v>
                </c:pt>
                <c:pt idx="5">
                  <c:v>89.099676700000003</c:v>
                </c:pt>
                <c:pt idx="6">
                  <c:v>61.684739980000003</c:v>
                </c:pt>
                <c:pt idx="7">
                  <c:v>82.712207950000007</c:v>
                </c:pt>
                <c:pt idx="8">
                  <c:v>79.371397180000002</c:v>
                </c:pt>
                <c:pt idx="9">
                  <c:v>109.29332786000001</c:v>
                </c:pt>
                <c:pt idx="10">
                  <c:v>65.012826770000004</c:v>
                </c:pt>
                <c:pt idx="11">
                  <c:v>86.460058709999998</c:v>
                </c:pt>
                <c:pt idx="12">
                  <c:v>73.995070580000004</c:v>
                </c:pt>
                <c:pt idx="13">
                  <c:v>70.450416559999994</c:v>
                </c:pt>
                <c:pt idx="14">
                  <c:v>70.323811640000002</c:v>
                </c:pt>
                <c:pt idx="15">
                  <c:v>77.573028070000007</c:v>
                </c:pt>
                <c:pt idx="16">
                  <c:v>75.450183789999997</c:v>
                </c:pt>
                <c:pt idx="17">
                  <c:v>94.432089930000004</c:v>
                </c:pt>
                <c:pt idx="18">
                  <c:v>59.544526300000001</c:v>
                </c:pt>
                <c:pt idx="19">
                  <c:v>61.653208409999998</c:v>
                </c:pt>
                <c:pt idx="20">
                  <c:v>72.02288815</c:v>
                </c:pt>
                <c:pt idx="21">
                  <c:v>58.376028069999997</c:v>
                </c:pt>
                <c:pt idx="22">
                  <c:v>25.948610330000001</c:v>
                </c:pt>
                <c:pt idx="23">
                  <c:v>30.7731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WEI LI QING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31.31068453</c:v>
                </c:pt>
                <c:pt idx="1">
                  <c:v>28.88147957</c:v>
                </c:pt>
                <c:pt idx="2">
                  <c:v>25.868414730000001</c:v>
                </c:pt>
                <c:pt idx="3">
                  <c:v>28.996607409999999</c:v>
                </c:pt>
                <c:pt idx="4">
                  <c:v>31.572901819999998</c:v>
                </c:pt>
                <c:pt idx="5">
                  <c:v>35.903462930000003</c:v>
                </c:pt>
                <c:pt idx="6">
                  <c:v>24.597292230000001</c:v>
                </c:pt>
                <c:pt idx="7">
                  <c:v>31.864713559999998</c:v>
                </c:pt>
                <c:pt idx="8">
                  <c:v>32.610408059999997</c:v>
                </c:pt>
                <c:pt idx="9">
                  <c:v>47.879245599999997</c:v>
                </c:pt>
                <c:pt idx="10">
                  <c:v>17.979818600000002</c:v>
                </c:pt>
                <c:pt idx="11">
                  <c:v>32.983790939999999</c:v>
                </c:pt>
                <c:pt idx="12">
                  <c:v>37.321846979999997</c:v>
                </c:pt>
                <c:pt idx="13">
                  <c:v>28.631375599999998</c:v>
                </c:pt>
                <c:pt idx="14">
                  <c:v>29.501961430000001</c:v>
                </c:pt>
                <c:pt idx="15">
                  <c:v>31.68858114</c:v>
                </c:pt>
                <c:pt idx="16">
                  <c:v>32.139997080000001</c:v>
                </c:pt>
                <c:pt idx="17">
                  <c:v>38.532476449999997</c:v>
                </c:pt>
                <c:pt idx="18">
                  <c:v>26.980167099999999</c:v>
                </c:pt>
                <c:pt idx="19">
                  <c:v>29.928287319999999</c:v>
                </c:pt>
                <c:pt idx="20">
                  <c:v>21.489617429999999</c:v>
                </c:pt>
                <c:pt idx="21">
                  <c:v>8.7652981899999993</c:v>
                </c:pt>
                <c:pt idx="22">
                  <c:v>2.9444795899999998</c:v>
                </c:pt>
                <c:pt idx="23">
                  <c:v>5.18663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EGD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5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10.064359420000001</c:v>
                </c:pt>
                <c:pt idx="1">
                  <c:v>9.9110702400000008</c:v>
                </c:pt>
                <c:pt idx="2">
                  <c:v>9.7234076199999997</c:v>
                </c:pt>
                <c:pt idx="3">
                  <c:v>8.9600140400000008</c:v>
                </c:pt>
                <c:pt idx="4">
                  <c:v>10.397546699999999</c:v>
                </c:pt>
                <c:pt idx="5">
                  <c:v>10.048459940000001</c:v>
                </c:pt>
                <c:pt idx="6">
                  <c:v>8.4713582899999995</c:v>
                </c:pt>
                <c:pt idx="7">
                  <c:v>9.4615889200000005</c:v>
                </c:pt>
                <c:pt idx="8">
                  <c:v>10.815902080000001</c:v>
                </c:pt>
                <c:pt idx="9">
                  <c:v>12.171779580000001</c:v>
                </c:pt>
                <c:pt idx="10">
                  <c:v>5.4192626700000002</c:v>
                </c:pt>
                <c:pt idx="11">
                  <c:v>8.4309995600000001</c:v>
                </c:pt>
                <c:pt idx="12">
                  <c:v>7.9024655099999999</c:v>
                </c:pt>
                <c:pt idx="13">
                  <c:v>7.44273746</c:v>
                </c:pt>
                <c:pt idx="14">
                  <c:v>7.2125426499999996</c:v>
                </c:pt>
                <c:pt idx="15">
                  <c:v>8.9923499699999994</c:v>
                </c:pt>
                <c:pt idx="16">
                  <c:v>7.0665799399999996</c:v>
                </c:pt>
                <c:pt idx="17">
                  <c:v>9.2252846399999999</c:v>
                </c:pt>
                <c:pt idx="18">
                  <c:v>5.9191479899999999</c:v>
                </c:pt>
                <c:pt idx="19">
                  <c:v>7.6194816400000001</c:v>
                </c:pt>
                <c:pt idx="20">
                  <c:v>6.7270370899999996</c:v>
                </c:pt>
                <c:pt idx="21">
                  <c:v>7.0650813899999996</c:v>
                </c:pt>
                <c:pt idx="22">
                  <c:v>3.3819704599999998</c:v>
                </c:pt>
                <c:pt idx="23">
                  <c:v>4.97472890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GAN BEI QING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15.29966696</c:v>
                </c:pt>
                <c:pt idx="1">
                  <c:v>12.165639069999999</c:v>
                </c:pt>
                <c:pt idx="2">
                  <c:v>11.722410849999999</c:v>
                </c:pt>
                <c:pt idx="3">
                  <c:v>16.726034599999998</c:v>
                </c:pt>
                <c:pt idx="4">
                  <c:v>14.18858505</c:v>
                </c:pt>
                <c:pt idx="5">
                  <c:v>13.941360749999999</c:v>
                </c:pt>
                <c:pt idx="6">
                  <c:v>11.71570713</c:v>
                </c:pt>
                <c:pt idx="7">
                  <c:v>15.68269783</c:v>
                </c:pt>
                <c:pt idx="8">
                  <c:v>12.18151327</c:v>
                </c:pt>
                <c:pt idx="9">
                  <c:v>18.179193120000001</c:v>
                </c:pt>
                <c:pt idx="10">
                  <c:v>7.4048357100000004</c:v>
                </c:pt>
                <c:pt idx="11">
                  <c:v>11.750006600000001</c:v>
                </c:pt>
                <c:pt idx="12">
                  <c:v>10.293733570000001</c:v>
                </c:pt>
                <c:pt idx="13">
                  <c:v>10.9814299</c:v>
                </c:pt>
                <c:pt idx="14">
                  <c:v>10.355812930000001</c:v>
                </c:pt>
                <c:pt idx="15">
                  <c:v>11.325726100000001</c:v>
                </c:pt>
                <c:pt idx="16">
                  <c:v>11.23190277</c:v>
                </c:pt>
                <c:pt idx="17">
                  <c:v>12.34722388</c:v>
                </c:pt>
                <c:pt idx="18">
                  <c:v>8.54681873</c:v>
                </c:pt>
                <c:pt idx="19">
                  <c:v>9.6544048500000006</c:v>
                </c:pt>
                <c:pt idx="20">
                  <c:v>7.8573801599999999</c:v>
                </c:pt>
                <c:pt idx="21">
                  <c:v>2.29915359</c:v>
                </c:pt>
                <c:pt idx="22">
                  <c:v>1.28130257</c:v>
                </c:pt>
                <c:pt idx="23">
                  <c:v>1.25691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LEI YI DE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23.210826959999999</c:v>
                </c:pt>
                <c:pt idx="1">
                  <c:v>19.75647343</c:v>
                </c:pt>
                <c:pt idx="2">
                  <c:v>20.073804500000001</c:v>
                </c:pt>
                <c:pt idx="3">
                  <c:v>23.021725480000001</c:v>
                </c:pt>
                <c:pt idx="4">
                  <c:v>20.036646399999999</c:v>
                </c:pt>
                <c:pt idx="5">
                  <c:v>25.616469370000001</c:v>
                </c:pt>
                <c:pt idx="6">
                  <c:v>20.639357029999999</c:v>
                </c:pt>
                <c:pt idx="7">
                  <c:v>24.05983797</c:v>
                </c:pt>
                <c:pt idx="8">
                  <c:v>22.977906149999999</c:v>
                </c:pt>
                <c:pt idx="9">
                  <c:v>28.038996109999999</c:v>
                </c:pt>
                <c:pt idx="10">
                  <c:v>14.92288344</c:v>
                </c:pt>
                <c:pt idx="11">
                  <c:v>22.433645429999999</c:v>
                </c:pt>
                <c:pt idx="12">
                  <c:v>22.29748197</c:v>
                </c:pt>
                <c:pt idx="13">
                  <c:v>20.993827119999999</c:v>
                </c:pt>
                <c:pt idx="14">
                  <c:v>18.322774760000001</c:v>
                </c:pt>
                <c:pt idx="15">
                  <c:v>18.090440210000001</c:v>
                </c:pt>
                <c:pt idx="16">
                  <c:v>16.108365880000001</c:v>
                </c:pt>
                <c:pt idx="17">
                  <c:v>19.969293709999999</c:v>
                </c:pt>
                <c:pt idx="18">
                  <c:v>10.933034360000001</c:v>
                </c:pt>
                <c:pt idx="19">
                  <c:v>11.964910270000001</c:v>
                </c:pt>
                <c:pt idx="20">
                  <c:v>8.7898054900000009</c:v>
                </c:pt>
                <c:pt idx="21">
                  <c:v>6.9610204099999997</c:v>
                </c:pt>
                <c:pt idx="22">
                  <c:v>1.9832748200000001</c:v>
                </c:pt>
                <c:pt idx="23">
                  <c:v>4.08024463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ING ZHENG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11.87577469</c:v>
                </c:pt>
                <c:pt idx="1">
                  <c:v>10.34564529</c:v>
                </c:pt>
                <c:pt idx="2">
                  <c:v>9.5929262000000008</c:v>
                </c:pt>
                <c:pt idx="3">
                  <c:v>10.645430040000001</c:v>
                </c:pt>
                <c:pt idx="4">
                  <c:v>9.3598791099999996</c:v>
                </c:pt>
                <c:pt idx="5">
                  <c:v>10.872024189999999</c:v>
                </c:pt>
                <c:pt idx="6">
                  <c:v>6.8264044100000003</c:v>
                </c:pt>
                <c:pt idx="7">
                  <c:v>9.40092295</c:v>
                </c:pt>
                <c:pt idx="8">
                  <c:v>7.6909488899999996</c:v>
                </c:pt>
                <c:pt idx="9">
                  <c:v>12.520930379999999</c:v>
                </c:pt>
                <c:pt idx="10">
                  <c:v>5.6137224100000003</c:v>
                </c:pt>
                <c:pt idx="11">
                  <c:v>7.0762551299999998</c:v>
                </c:pt>
                <c:pt idx="12">
                  <c:v>7.6039635499999996</c:v>
                </c:pt>
                <c:pt idx="13">
                  <c:v>6.9646758999999996</c:v>
                </c:pt>
                <c:pt idx="14">
                  <c:v>6.0830757999999996</c:v>
                </c:pt>
                <c:pt idx="15">
                  <c:v>6.4516969099999999</c:v>
                </c:pt>
                <c:pt idx="16">
                  <c:v>6.71574078</c:v>
                </c:pt>
                <c:pt idx="17">
                  <c:v>7.20311623</c:v>
                </c:pt>
                <c:pt idx="18">
                  <c:v>4.6597800200000004</c:v>
                </c:pt>
                <c:pt idx="19">
                  <c:v>3.07148048</c:v>
                </c:pt>
                <c:pt idx="20">
                  <c:v>3.3471613800000002</c:v>
                </c:pt>
                <c:pt idx="21">
                  <c:v>5.8047047599999999</c:v>
                </c:pt>
                <c:pt idx="22">
                  <c:v>3.7639351099999998</c:v>
                </c:pt>
                <c:pt idx="23">
                  <c:v>2.599671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BEI SHUANG DING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11.24576873</c:v>
                </c:pt>
                <c:pt idx="1">
                  <c:v>9.9072742300000005</c:v>
                </c:pt>
                <c:pt idx="2">
                  <c:v>12.36191487</c:v>
                </c:pt>
                <c:pt idx="3">
                  <c:v>10.24865623</c:v>
                </c:pt>
                <c:pt idx="4">
                  <c:v>13.21717441</c:v>
                </c:pt>
                <c:pt idx="5">
                  <c:v>15.768924090000001</c:v>
                </c:pt>
                <c:pt idx="6">
                  <c:v>10.615136700000001</c:v>
                </c:pt>
                <c:pt idx="7">
                  <c:v>12.113641060000001</c:v>
                </c:pt>
                <c:pt idx="8">
                  <c:v>11.87645697</c:v>
                </c:pt>
                <c:pt idx="9">
                  <c:v>17.06933166</c:v>
                </c:pt>
                <c:pt idx="10">
                  <c:v>7.2265659600000003</c:v>
                </c:pt>
                <c:pt idx="11">
                  <c:v>15.55737465</c:v>
                </c:pt>
                <c:pt idx="12">
                  <c:v>13.59760704</c:v>
                </c:pt>
                <c:pt idx="13">
                  <c:v>9.5058124100000008</c:v>
                </c:pt>
                <c:pt idx="14">
                  <c:v>13.51382634</c:v>
                </c:pt>
                <c:pt idx="15">
                  <c:v>11.379744349999999</c:v>
                </c:pt>
                <c:pt idx="16">
                  <c:v>13.69257303</c:v>
                </c:pt>
                <c:pt idx="17">
                  <c:v>14.43669822</c:v>
                </c:pt>
                <c:pt idx="18">
                  <c:v>10.056843990000001</c:v>
                </c:pt>
                <c:pt idx="19">
                  <c:v>9.8286778399999992</c:v>
                </c:pt>
                <c:pt idx="20">
                  <c:v>9.9947800900000008</c:v>
                </c:pt>
                <c:pt idx="21">
                  <c:v>5.08939524</c:v>
                </c:pt>
                <c:pt idx="22">
                  <c:v>2.8826748000000002</c:v>
                </c:pt>
                <c:pt idx="23">
                  <c:v>2.460416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HEPTODIN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rgbClr val="1482AC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23.020861979999999</c:v>
                </c:pt>
                <c:pt idx="1">
                  <c:v>19.989175410000001</c:v>
                </c:pt>
                <c:pt idx="2">
                  <c:v>19.50311507</c:v>
                </c:pt>
                <c:pt idx="3">
                  <c:v>19.80610441</c:v>
                </c:pt>
                <c:pt idx="4">
                  <c:v>19.716950189999999</c:v>
                </c:pt>
                <c:pt idx="5">
                  <c:v>21.794140479999999</c:v>
                </c:pt>
                <c:pt idx="6">
                  <c:v>14.200057839999999</c:v>
                </c:pt>
                <c:pt idx="7">
                  <c:v>16.367176749999999</c:v>
                </c:pt>
                <c:pt idx="8">
                  <c:v>17.512290440000001</c:v>
                </c:pt>
                <c:pt idx="9">
                  <c:v>23.395660759999998</c:v>
                </c:pt>
                <c:pt idx="10">
                  <c:v>8.8650213499999992</c:v>
                </c:pt>
                <c:pt idx="11">
                  <c:v>13.87149163</c:v>
                </c:pt>
                <c:pt idx="12">
                  <c:v>15.80550861</c:v>
                </c:pt>
                <c:pt idx="13">
                  <c:v>12.90512814</c:v>
                </c:pt>
                <c:pt idx="14">
                  <c:v>12.13210649</c:v>
                </c:pt>
                <c:pt idx="15">
                  <c:v>13.15515001</c:v>
                </c:pt>
                <c:pt idx="16">
                  <c:v>11.86522678</c:v>
                </c:pt>
                <c:pt idx="17">
                  <c:v>14.3811748</c:v>
                </c:pt>
                <c:pt idx="18">
                  <c:v>10.362494099999999</c:v>
                </c:pt>
                <c:pt idx="19">
                  <c:v>10.191677329999999</c:v>
                </c:pt>
                <c:pt idx="20">
                  <c:v>11.51007177</c:v>
                </c:pt>
                <c:pt idx="21">
                  <c:v>14.406519640000001</c:v>
                </c:pt>
                <c:pt idx="22">
                  <c:v>5.8290987599999999</c:v>
                </c:pt>
                <c:pt idx="23">
                  <c:v>10.15091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85.703753050000003</c:v>
                </c:pt>
                <c:pt idx="1">
                  <c:v>78.250185520000002</c:v>
                </c:pt>
                <c:pt idx="2">
                  <c:v>76.666465439999996</c:v>
                </c:pt>
                <c:pt idx="3">
                  <c:v>76.475664320000007</c:v>
                </c:pt>
                <c:pt idx="4">
                  <c:v>81.635479450000005</c:v>
                </c:pt>
                <c:pt idx="5">
                  <c:v>85.675275060000004</c:v>
                </c:pt>
                <c:pt idx="6">
                  <c:v>67.218439079999996</c:v>
                </c:pt>
                <c:pt idx="7">
                  <c:v>79.879189109999999</c:v>
                </c:pt>
                <c:pt idx="8">
                  <c:v>83.587032059999999</c:v>
                </c:pt>
                <c:pt idx="9">
                  <c:v>101.00926043</c:v>
                </c:pt>
                <c:pt idx="10">
                  <c:v>56.01314009</c:v>
                </c:pt>
                <c:pt idx="11">
                  <c:v>77.574555660000001</c:v>
                </c:pt>
                <c:pt idx="12">
                  <c:v>81.025169660000003</c:v>
                </c:pt>
                <c:pt idx="13">
                  <c:v>66.202750679999994</c:v>
                </c:pt>
                <c:pt idx="14">
                  <c:v>61.740442119999997</c:v>
                </c:pt>
                <c:pt idx="15">
                  <c:v>69.931263009999995</c:v>
                </c:pt>
                <c:pt idx="16">
                  <c:v>69.970668279999998</c:v>
                </c:pt>
                <c:pt idx="17">
                  <c:v>76.529674170000007</c:v>
                </c:pt>
                <c:pt idx="18">
                  <c:v>57.742811070000002</c:v>
                </c:pt>
                <c:pt idx="19">
                  <c:v>55.393045860000001</c:v>
                </c:pt>
                <c:pt idx="20">
                  <c:v>50.206432309999997</c:v>
                </c:pt>
                <c:pt idx="21">
                  <c:v>50.76572212</c:v>
                </c:pt>
                <c:pt idx="22">
                  <c:v>26.732075099999999</c:v>
                </c:pt>
                <c:pt idx="23">
                  <c:v>29.371191169999999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757616"/>
        <c:axId val="521760752"/>
        <c:extLst/>
      </c:lineChart>
      <c:catAx>
        <c:axId val="5217576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760752"/>
        <c:crosses val="autoZero"/>
        <c:auto val="1"/>
        <c:lblAlgn val="ctr"/>
        <c:lblOffset val="100"/>
        <c:noMultiLvlLbl val="0"/>
      </c:catAx>
      <c:valAx>
        <c:axId val="52176075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alue (</a:t>
                </a:r>
                <a:r>
                  <a:rPr lang="en-US" dirty="0" err="1"/>
                  <a:t>Mn</a:t>
                </a:r>
                <a:r>
                  <a:rPr lang="en-US" dirty="0"/>
                  <a:t>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75761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TIAN DING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2.3769316071428599</c:v>
                </c:pt>
                <c:pt idx="1">
                  <c:v>2.3033453571428599</c:v>
                </c:pt>
                <c:pt idx="2">
                  <c:v>2.3136426785714299</c:v>
                </c:pt>
                <c:pt idx="3">
                  <c:v>2.2327587857142901</c:v>
                </c:pt>
                <c:pt idx="4">
                  <c:v>2.2877301071428602</c:v>
                </c:pt>
                <c:pt idx="5">
                  <c:v>2.6906961071428599</c:v>
                </c:pt>
                <c:pt idx="6">
                  <c:v>1.8927978928571401</c:v>
                </c:pt>
                <c:pt idx="7">
                  <c:v>2.21241478571429</c:v>
                </c:pt>
                <c:pt idx="8">
                  <c:v>2.1054681785714302</c:v>
                </c:pt>
                <c:pt idx="9">
                  <c:v>3.1870211785714302</c:v>
                </c:pt>
                <c:pt idx="10">
                  <c:v>1.4218757857142901</c:v>
                </c:pt>
                <c:pt idx="11">
                  <c:v>2.4153784642857099</c:v>
                </c:pt>
                <c:pt idx="12">
                  <c:v>2.36027967857143</c:v>
                </c:pt>
                <c:pt idx="13">
                  <c:v>2.1225559642857101</c:v>
                </c:pt>
                <c:pt idx="14">
                  <c:v>2.1780924642857098</c:v>
                </c:pt>
                <c:pt idx="15">
                  <c:v>2.3951809285714298</c:v>
                </c:pt>
                <c:pt idx="16">
                  <c:v>2.25990503571429</c:v>
                </c:pt>
                <c:pt idx="17">
                  <c:v>2.6119500000000002</c:v>
                </c:pt>
                <c:pt idx="18">
                  <c:v>1.92532489285714</c:v>
                </c:pt>
                <c:pt idx="19">
                  <c:v>1.7905335</c:v>
                </c:pt>
                <c:pt idx="20">
                  <c:v>1.5401855</c:v>
                </c:pt>
                <c:pt idx="21">
                  <c:v>1.3922116071428601</c:v>
                </c:pt>
                <c:pt idx="22">
                  <c:v>0.66131671428571404</c:v>
                </c:pt>
                <c:pt idx="23">
                  <c:v>0.728423964285713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BARACLUDE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0.74772157142857198</c:v>
                </c:pt>
                <c:pt idx="1">
                  <c:v>0.731070142857143</c:v>
                </c:pt>
                <c:pt idx="2">
                  <c:v>0.71909271428571397</c:v>
                </c:pt>
                <c:pt idx="3">
                  <c:v>0.73714457142857104</c:v>
                </c:pt>
                <c:pt idx="4">
                  <c:v>0.74730314285714305</c:v>
                </c:pt>
                <c:pt idx="5">
                  <c:v>0.77062200000000003</c:v>
                </c:pt>
                <c:pt idx="6">
                  <c:v>0.652284714285714</c:v>
                </c:pt>
                <c:pt idx="7">
                  <c:v>0.73560071428571405</c:v>
                </c:pt>
                <c:pt idx="8">
                  <c:v>0.74089657142857102</c:v>
                </c:pt>
                <c:pt idx="9">
                  <c:v>0.89712914285714296</c:v>
                </c:pt>
                <c:pt idx="10">
                  <c:v>0.43377700000000002</c:v>
                </c:pt>
                <c:pt idx="11">
                  <c:v>0.63761528571428605</c:v>
                </c:pt>
                <c:pt idx="12">
                  <c:v>0.74449957142857104</c:v>
                </c:pt>
                <c:pt idx="13">
                  <c:v>0.60672671428571401</c:v>
                </c:pt>
                <c:pt idx="14">
                  <c:v>0.59758814285714301</c:v>
                </c:pt>
                <c:pt idx="15">
                  <c:v>0.64661114285714305</c:v>
                </c:pt>
                <c:pt idx="16">
                  <c:v>0.63261242857142896</c:v>
                </c:pt>
                <c:pt idx="17">
                  <c:v>0.72380485714285703</c:v>
                </c:pt>
                <c:pt idx="18">
                  <c:v>0.54109585714285702</c:v>
                </c:pt>
                <c:pt idx="19">
                  <c:v>0.55890785714285696</c:v>
                </c:pt>
                <c:pt idx="20">
                  <c:v>0.53215800000000002</c:v>
                </c:pt>
                <c:pt idx="21">
                  <c:v>0.743803142857143</c:v>
                </c:pt>
                <c:pt idx="22">
                  <c:v>0.37092557142857102</c:v>
                </c:pt>
                <c:pt idx="23">
                  <c:v>0.45825014285714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VIREAD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0.13100836666666699</c:v>
                </c:pt>
                <c:pt idx="1">
                  <c:v>0.1349088</c:v>
                </c:pt>
                <c:pt idx="2">
                  <c:v>0.13498569999999999</c:v>
                </c:pt>
                <c:pt idx="3">
                  <c:v>0.148210433333333</c:v>
                </c:pt>
                <c:pt idx="4">
                  <c:v>0.1546032</c:v>
                </c:pt>
                <c:pt idx="5">
                  <c:v>0.18184626666666701</c:v>
                </c:pt>
                <c:pt idx="6">
                  <c:v>0.1248872</c:v>
                </c:pt>
                <c:pt idx="7">
                  <c:v>0.16743113333333301</c:v>
                </c:pt>
                <c:pt idx="8">
                  <c:v>0.16214103333333299</c:v>
                </c:pt>
                <c:pt idx="9">
                  <c:v>0.220329566666667</c:v>
                </c:pt>
                <c:pt idx="10">
                  <c:v>0.13189176666666699</c:v>
                </c:pt>
                <c:pt idx="11">
                  <c:v>0.1773497</c:v>
                </c:pt>
                <c:pt idx="12">
                  <c:v>0.16823223333333301</c:v>
                </c:pt>
                <c:pt idx="13">
                  <c:v>0.159131733333333</c:v>
                </c:pt>
                <c:pt idx="14">
                  <c:v>0.15659473333333301</c:v>
                </c:pt>
                <c:pt idx="15">
                  <c:v>0.17444850000000001</c:v>
                </c:pt>
                <c:pt idx="16">
                  <c:v>0.1719956</c:v>
                </c:pt>
                <c:pt idx="17">
                  <c:v>0.21189976666666699</c:v>
                </c:pt>
                <c:pt idx="18">
                  <c:v>0.13597390000000001</c:v>
                </c:pt>
                <c:pt idx="19">
                  <c:v>0.14352506666666701</c:v>
                </c:pt>
                <c:pt idx="20">
                  <c:v>0.176102333333333</c:v>
                </c:pt>
                <c:pt idx="21">
                  <c:v>0.16297139999999999</c:v>
                </c:pt>
                <c:pt idx="22">
                  <c:v>7.6130000000000003E-2</c:v>
                </c:pt>
                <c:pt idx="23">
                  <c:v>9.0137599999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WEI LI QING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0.362072</c:v>
                </c:pt>
                <c:pt idx="1">
                  <c:v>0.34320442857142902</c:v>
                </c:pt>
                <c:pt idx="2">
                  <c:v>0.31312628571428602</c:v>
                </c:pt>
                <c:pt idx="3">
                  <c:v>0.35031042857142902</c:v>
                </c:pt>
                <c:pt idx="4">
                  <c:v>0.38747314285714302</c:v>
                </c:pt>
                <c:pt idx="5">
                  <c:v>0.44109042857142899</c:v>
                </c:pt>
                <c:pt idx="6">
                  <c:v>0.30717242857142901</c:v>
                </c:pt>
                <c:pt idx="7">
                  <c:v>0.38866064285714302</c:v>
                </c:pt>
                <c:pt idx="8">
                  <c:v>0.39734007142857097</c:v>
                </c:pt>
                <c:pt idx="9">
                  <c:v>0.57042228571428599</c:v>
                </c:pt>
                <c:pt idx="10">
                  <c:v>0.2206745</c:v>
                </c:pt>
                <c:pt idx="11">
                  <c:v>0.40404649999999998</c:v>
                </c:pt>
                <c:pt idx="12">
                  <c:v>0.45687349999999999</c:v>
                </c:pt>
                <c:pt idx="13">
                  <c:v>0.36819078571428598</c:v>
                </c:pt>
                <c:pt idx="14">
                  <c:v>0.36288221428571399</c:v>
                </c:pt>
                <c:pt idx="15">
                  <c:v>0.38544071428571403</c:v>
                </c:pt>
                <c:pt idx="16">
                  <c:v>0.39203847142857101</c:v>
                </c:pt>
                <c:pt idx="17">
                  <c:v>0.4663447</c:v>
                </c:pt>
                <c:pt idx="18">
                  <c:v>0.33909797142857101</c:v>
                </c:pt>
                <c:pt idx="19">
                  <c:v>0.37028758571428599</c:v>
                </c:pt>
                <c:pt idx="20">
                  <c:v>0.26939498571428599</c:v>
                </c:pt>
                <c:pt idx="21">
                  <c:v>0.13382914285714301</c:v>
                </c:pt>
                <c:pt idx="22">
                  <c:v>5.6037857142857098E-2</c:v>
                </c:pt>
                <c:pt idx="23">
                  <c:v>8.628800000000000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EGD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5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0.164053714285714</c:v>
                </c:pt>
                <c:pt idx="1">
                  <c:v>0.152023285714286</c:v>
                </c:pt>
                <c:pt idx="2">
                  <c:v>0.16300528571428599</c:v>
                </c:pt>
                <c:pt idx="3">
                  <c:v>0.15334485714285701</c:v>
                </c:pt>
                <c:pt idx="4">
                  <c:v>0.17838999999999999</c:v>
                </c:pt>
                <c:pt idx="5">
                  <c:v>0.17273542857142801</c:v>
                </c:pt>
                <c:pt idx="6">
                  <c:v>0.14879428571428599</c:v>
                </c:pt>
                <c:pt idx="7">
                  <c:v>0.18087014285714301</c:v>
                </c:pt>
                <c:pt idx="8">
                  <c:v>0.19736699999999999</c:v>
                </c:pt>
                <c:pt idx="9">
                  <c:v>0.23020192857142899</c:v>
                </c:pt>
                <c:pt idx="10">
                  <c:v>0.102358428571428</c:v>
                </c:pt>
                <c:pt idx="11">
                  <c:v>0.16508714285714299</c:v>
                </c:pt>
                <c:pt idx="12">
                  <c:v>0.16236314285714301</c:v>
                </c:pt>
                <c:pt idx="13">
                  <c:v>0.153206571428571</c:v>
                </c:pt>
                <c:pt idx="14">
                  <c:v>0.145704</c:v>
                </c:pt>
                <c:pt idx="15">
                  <c:v>0.17544792857142899</c:v>
                </c:pt>
                <c:pt idx="16">
                  <c:v>0.1434435</c:v>
                </c:pt>
                <c:pt idx="17">
                  <c:v>0.187236428571429</c:v>
                </c:pt>
                <c:pt idx="18">
                  <c:v>0.114722785714286</c:v>
                </c:pt>
                <c:pt idx="19">
                  <c:v>0.15534249999999999</c:v>
                </c:pt>
                <c:pt idx="20">
                  <c:v>0.34456210714285701</c:v>
                </c:pt>
                <c:pt idx="21">
                  <c:v>0.60368335714285704</c:v>
                </c:pt>
                <c:pt idx="22">
                  <c:v>0.219385928571429</c:v>
                </c:pt>
                <c:pt idx="23">
                  <c:v>0.43278560714285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GAN BEI QING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0.39356490476190498</c:v>
                </c:pt>
                <c:pt idx="1">
                  <c:v>0.31399416666666702</c:v>
                </c:pt>
                <c:pt idx="2">
                  <c:v>0.30854014285714298</c:v>
                </c:pt>
                <c:pt idx="3">
                  <c:v>0.44762385714285702</c:v>
                </c:pt>
                <c:pt idx="4">
                  <c:v>0.389601857142857</c:v>
                </c:pt>
                <c:pt idx="5">
                  <c:v>0.399086071428572</c:v>
                </c:pt>
                <c:pt idx="6">
                  <c:v>0.31769219047619102</c:v>
                </c:pt>
                <c:pt idx="7">
                  <c:v>0.43631423809523801</c:v>
                </c:pt>
                <c:pt idx="8">
                  <c:v>0.34623019047619003</c:v>
                </c:pt>
                <c:pt idx="9">
                  <c:v>0.51400669047618996</c:v>
                </c:pt>
                <c:pt idx="10">
                  <c:v>0.214213738095238</c:v>
                </c:pt>
                <c:pt idx="11">
                  <c:v>0.32035776190476201</c:v>
                </c:pt>
                <c:pt idx="12">
                  <c:v>0.251216904761905</c:v>
                </c:pt>
                <c:pt idx="13">
                  <c:v>0.28353723809523801</c:v>
                </c:pt>
                <c:pt idx="14">
                  <c:v>0.23184302380952401</c:v>
                </c:pt>
                <c:pt idx="15">
                  <c:v>0.24138228571428599</c:v>
                </c:pt>
                <c:pt idx="16">
                  <c:v>0.25242785714285698</c:v>
                </c:pt>
                <c:pt idx="17">
                  <c:v>0.267373238095238</c:v>
                </c:pt>
                <c:pt idx="18">
                  <c:v>0.19766490476190501</c:v>
                </c:pt>
                <c:pt idx="19">
                  <c:v>0.21842033333333299</c:v>
                </c:pt>
                <c:pt idx="20">
                  <c:v>0.17197285714285701</c:v>
                </c:pt>
                <c:pt idx="21">
                  <c:v>6.1846047619047599E-2</c:v>
                </c:pt>
                <c:pt idx="22">
                  <c:v>3.4389761904761902E-2</c:v>
                </c:pt>
                <c:pt idx="23">
                  <c:v>3.67692857142856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LEI YI DE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0.17638592857142901</c:v>
                </c:pt>
                <c:pt idx="1">
                  <c:v>0.149123642857143</c:v>
                </c:pt>
                <c:pt idx="2">
                  <c:v>0.153149857142857</c:v>
                </c:pt>
                <c:pt idx="3">
                  <c:v>0.173582571428571</c:v>
                </c:pt>
                <c:pt idx="4">
                  <c:v>0.152540642857143</c:v>
                </c:pt>
                <c:pt idx="5">
                  <c:v>0.19837771428571399</c:v>
                </c:pt>
                <c:pt idx="6">
                  <c:v>0.15787571428571401</c:v>
                </c:pt>
                <c:pt idx="7">
                  <c:v>0.18178178571428599</c:v>
                </c:pt>
                <c:pt idx="8">
                  <c:v>0.17287649999999999</c:v>
                </c:pt>
                <c:pt idx="9">
                  <c:v>0.214521357142857</c:v>
                </c:pt>
                <c:pt idx="10">
                  <c:v>0.12046464285714301</c:v>
                </c:pt>
                <c:pt idx="11">
                  <c:v>0.179305214285714</c:v>
                </c:pt>
                <c:pt idx="12">
                  <c:v>0.17716000000000001</c:v>
                </c:pt>
                <c:pt idx="13">
                  <c:v>0.16470114285714299</c:v>
                </c:pt>
                <c:pt idx="14">
                  <c:v>0.14680792857142899</c:v>
                </c:pt>
                <c:pt idx="15">
                  <c:v>0.14018321428571401</c:v>
                </c:pt>
                <c:pt idx="16">
                  <c:v>0.12302342857142901</c:v>
                </c:pt>
                <c:pt idx="17">
                  <c:v>0.15561828571428599</c:v>
                </c:pt>
                <c:pt idx="18">
                  <c:v>8.7869785714285706E-2</c:v>
                </c:pt>
                <c:pt idx="19">
                  <c:v>9.3046500000000004E-2</c:v>
                </c:pt>
                <c:pt idx="20">
                  <c:v>0.341806</c:v>
                </c:pt>
                <c:pt idx="21">
                  <c:v>0.77290176190476201</c:v>
                </c:pt>
                <c:pt idx="22">
                  <c:v>0.118801619047619</c:v>
                </c:pt>
                <c:pt idx="23">
                  <c:v>0.49945614285714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ING ZHENG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0.16654141904761899</c:v>
                </c:pt>
                <c:pt idx="1">
                  <c:v>0.157324257142857</c:v>
                </c:pt>
                <c:pt idx="2">
                  <c:v>0.15135449523809499</c:v>
                </c:pt>
                <c:pt idx="3">
                  <c:v>0.16655804285714301</c:v>
                </c:pt>
                <c:pt idx="4">
                  <c:v>0.14147274285714301</c:v>
                </c:pt>
                <c:pt idx="5">
                  <c:v>0.16972057619047601</c:v>
                </c:pt>
                <c:pt idx="6">
                  <c:v>0.11007071428571399</c:v>
                </c:pt>
                <c:pt idx="7">
                  <c:v>0.14106319523809499</c:v>
                </c:pt>
                <c:pt idx="8">
                  <c:v>0.11941280952381</c:v>
                </c:pt>
                <c:pt idx="9">
                  <c:v>0.19802245238095201</c:v>
                </c:pt>
                <c:pt idx="10">
                  <c:v>8.4964252380952399E-2</c:v>
                </c:pt>
                <c:pt idx="11">
                  <c:v>0.108038919047619</c:v>
                </c:pt>
                <c:pt idx="12">
                  <c:v>0.120142895238095</c:v>
                </c:pt>
                <c:pt idx="13">
                  <c:v>0.106395738095238</c:v>
                </c:pt>
                <c:pt idx="14">
                  <c:v>9.6221357142857206E-2</c:v>
                </c:pt>
                <c:pt idx="15">
                  <c:v>0.101843033333333</c:v>
                </c:pt>
                <c:pt idx="16">
                  <c:v>0.10492589523809499</c:v>
                </c:pt>
                <c:pt idx="17">
                  <c:v>0.11330999999999999</c:v>
                </c:pt>
                <c:pt idx="18">
                  <c:v>7.16498619047619E-2</c:v>
                </c:pt>
                <c:pt idx="19">
                  <c:v>4.9271299999999997E-2</c:v>
                </c:pt>
                <c:pt idx="20">
                  <c:v>5.3724204761904801E-2</c:v>
                </c:pt>
                <c:pt idx="21">
                  <c:v>9.4817847619047602E-2</c:v>
                </c:pt>
                <c:pt idx="22">
                  <c:v>5.7612076190476202E-2</c:v>
                </c:pt>
                <c:pt idx="23">
                  <c:v>4.06872523809524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BEI SHUANG DING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0.168960142857143</c:v>
                </c:pt>
                <c:pt idx="1">
                  <c:v>0.154467285714286</c:v>
                </c:pt>
                <c:pt idx="2">
                  <c:v>0.18865471428571401</c:v>
                </c:pt>
                <c:pt idx="3">
                  <c:v>0.15444642857142901</c:v>
                </c:pt>
                <c:pt idx="4">
                  <c:v>0.196506571428571</c:v>
                </c:pt>
                <c:pt idx="5">
                  <c:v>0.23182989285714301</c:v>
                </c:pt>
                <c:pt idx="6">
                  <c:v>0.16094714285714301</c:v>
                </c:pt>
                <c:pt idx="7">
                  <c:v>0.17914857142857099</c:v>
                </c:pt>
                <c:pt idx="8">
                  <c:v>0.18100185714285699</c:v>
                </c:pt>
                <c:pt idx="9">
                  <c:v>0.26147792857142799</c:v>
                </c:pt>
                <c:pt idx="10">
                  <c:v>0.110378821428571</c:v>
                </c:pt>
                <c:pt idx="11">
                  <c:v>0.23859714285714301</c:v>
                </c:pt>
                <c:pt idx="12">
                  <c:v>0.20406682142857099</c:v>
                </c:pt>
                <c:pt idx="13">
                  <c:v>0.142275357142857</c:v>
                </c:pt>
                <c:pt idx="14">
                  <c:v>0.19656889285714299</c:v>
                </c:pt>
                <c:pt idx="15">
                  <c:v>0.17397678571428599</c:v>
                </c:pt>
                <c:pt idx="16">
                  <c:v>0.20314257142857101</c:v>
                </c:pt>
                <c:pt idx="17">
                  <c:v>0.220474714285714</c:v>
                </c:pt>
                <c:pt idx="18">
                  <c:v>0.14658685714285699</c:v>
                </c:pt>
                <c:pt idx="19">
                  <c:v>0.14526071428571399</c:v>
                </c:pt>
                <c:pt idx="20">
                  <c:v>0.14934039285714301</c:v>
                </c:pt>
                <c:pt idx="21">
                  <c:v>8.0684107142857106E-2</c:v>
                </c:pt>
                <c:pt idx="22">
                  <c:v>4.4817750000000003E-2</c:v>
                </c:pt>
                <c:pt idx="23">
                  <c:v>3.9033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HEPTODIN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rgbClr val="1482AC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0.153214357142857</c:v>
                </c:pt>
                <c:pt idx="1">
                  <c:v>0.13324757142857099</c:v>
                </c:pt>
                <c:pt idx="2">
                  <c:v>0.131116714285714</c:v>
                </c:pt>
                <c:pt idx="3">
                  <c:v>0.13320514285714299</c:v>
                </c:pt>
                <c:pt idx="4">
                  <c:v>0.13374357142857099</c:v>
                </c:pt>
                <c:pt idx="5">
                  <c:v>0.1480745</c:v>
                </c:pt>
                <c:pt idx="6">
                  <c:v>9.6914214285714298E-2</c:v>
                </c:pt>
                <c:pt idx="7">
                  <c:v>0.111668428571429</c:v>
                </c:pt>
                <c:pt idx="8">
                  <c:v>0.119755</c:v>
                </c:pt>
                <c:pt idx="9">
                  <c:v>0.15991900000000001</c:v>
                </c:pt>
                <c:pt idx="10">
                  <c:v>6.0198285714285697E-2</c:v>
                </c:pt>
                <c:pt idx="11">
                  <c:v>9.4891214285714301E-2</c:v>
                </c:pt>
                <c:pt idx="12">
                  <c:v>0.107425071428571</c:v>
                </c:pt>
                <c:pt idx="13">
                  <c:v>8.8615214285714297E-2</c:v>
                </c:pt>
                <c:pt idx="14">
                  <c:v>8.3203357142857107E-2</c:v>
                </c:pt>
                <c:pt idx="15">
                  <c:v>9.0350428571428595E-2</c:v>
                </c:pt>
                <c:pt idx="16">
                  <c:v>8.1320714285714302E-2</c:v>
                </c:pt>
                <c:pt idx="17">
                  <c:v>9.8657928571428605E-2</c:v>
                </c:pt>
                <c:pt idx="18">
                  <c:v>7.1293714285714294E-2</c:v>
                </c:pt>
                <c:pt idx="19">
                  <c:v>7.0203428571428597E-2</c:v>
                </c:pt>
                <c:pt idx="20">
                  <c:v>7.9447642857142897E-2</c:v>
                </c:pt>
                <c:pt idx="21">
                  <c:v>0.100536928571429</c:v>
                </c:pt>
                <c:pt idx="22">
                  <c:v>4.0586071428571402E-2</c:v>
                </c:pt>
                <c:pt idx="23">
                  <c:v>7.073721428571430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0.805520002380953</c:v>
                </c:pt>
                <c:pt idx="1">
                  <c:v>0.73390168095238095</c:v>
                </c:pt>
                <c:pt idx="2">
                  <c:v>0.73231652380952394</c:v>
                </c:pt>
                <c:pt idx="3">
                  <c:v>0.73714986666666704</c:v>
                </c:pt>
                <c:pt idx="4">
                  <c:v>0.78618934047619105</c:v>
                </c:pt>
                <c:pt idx="5">
                  <c:v>0.80221309761904702</c:v>
                </c:pt>
                <c:pt idx="6">
                  <c:v>0.63357855476190506</c:v>
                </c:pt>
                <c:pt idx="7">
                  <c:v>0.71902240714285703</c:v>
                </c:pt>
                <c:pt idx="8">
                  <c:v>0.76524112142857104</c:v>
                </c:pt>
                <c:pt idx="9">
                  <c:v>0.94084614523809496</c:v>
                </c:pt>
                <c:pt idx="10">
                  <c:v>0.47364108333333299</c:v>
                </c:pt>
                <c:pt idx="11">
                  <c:v>0.67298055952380897</c:v>
                </c:pt>
                <c:pt idx="12">
                  <c:v>0.71037574047619001</c:v>
                </c:pt>
                <c:pt idx="13">
                  <c:v>0.54432660476190498</c:v>
                </c:pt>
                <c:pt idx="14">
                  <c:v>0.53805756428571405</c:v>
                </c:pt>
                <c:pt idx="15">
                  <c:v>0.579785373809524</c:v>
                </c:pt>
                <c:pt idx="16">
                  <c:v>0.58815139880952405</c:v>
                </c:pt>
                <c:pt idx="17">
                  <c:v>0.63727023690476203</c:v>
                </c:pt>
                <c:pt idx="18">
                  <c:v>0.49255914285714297</c:v>
                </c:pt>
                <c:pt idx="19">
                  <c:v>0.48323640595238099</c:v>
                </c:pt>
                <c:pt idx="20">
                  <c:v>0.45575158214285699</c:v>
                </c:pt>
                <c:pt idx="21">
                  <c:v>0.50870287023809502</c:v>
                </c:pt>
                <c:pt idx="22">
                  <c:v>0.240999826190476</c:v>
                </c:pt>
                <c:pt idx="23">
                  <c:v>0.30885590952380998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026432"/>
        <c:axId val="521030352"/>
        <c:extLst/>
      </c:lineChart>
      <c:catAx>
        <c:axId val="5210264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030352"/>
        <c:crosses val="autoZero"/>
        <c:auto val="1"/>
        <c:lblAlgn val="ctr"/>
        <c:lblOffset val="100"/>
        <c:noMultiLvlLbl val="0"/>
      </c:catAx>
      <c:valAx>
        <c:axId val="52103035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olume (</a:t>
                </a:r>
                <a:r>
                  <a:rPr lang="en-US" dirty="0" err="1"/>
                  <a:t>Mn</a:t>
                </a:r>
                <a:r>
                  <a:rPr lang="en-US" dirty="0"/>
                  <a:t>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02643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TIAN DING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0.36816934422130598</c:v>
                </c:pt>
                <c:pt idx="1">
                  <c:v>0.370301545467975</c:v>
                </c:pt>
                <c:pt idx="2">
                  <c:v>0.37052311471196497</c:v>
                </c:pt>
                <c:pt idx="3">
                  <c:v>0.356143462761213</c:v>
                </c:pt>
                <c:pt idx="4">
                  <c:v>0.36796012774174103</c:v>
                </c:pt>
                <c:pt idx="5">
                  <c:v>0.39017817609126298</c:v>
                </c:pt>
                <c:pt idx="6">
                  <c:v>0.366692625449478</c:v>
                </c:pt>
                <c:pt idx="7">
                  <c:v>0.36229651449612699</c:v>
                </c:pt>
                <c:pt idx="8">
                  <c:v>0.34512018451629101</c:v>
                </c:pt>
                <c:pt idx="9">
                  <c:v>0.38824717484930499</c:v>
                </c:pt>
                <c:pt idx="10">
                  <c:v>0.35196566114192002</c:v>
                </c:pt>
                <c:pt idx="11">
                  <c:v>0.365859736061591</c:v>
                </c:pt>
                <c:pt idx="12">
                  <c:v>0.33679308945789199</c:v>
                </c:pt>
                <c:pt idx="13">
                  <c:v>0.35927648177918098</c:v>
                </c:pt>
                <c:pt idx="14">
                  <c:v>0.35095312241177101</c:v>
                </c:pt>
                <c:pt idx="15">
                  <c:v>0.350158810794233</c:v>
                </c:pt>
                <c:pt idx="16">
                  <c:v>0.337969292109913</c:v>
                </c:pt>
                <c:pt idx="17">
                  <c:v>0.33532943677741001</c:v>
                </c:pt>
                <c:pt idx="18">
                  <c:v>0.341382965414396</c:v>
                </c:pt>
                <c:pt idx="19">
                  <c:v>0.30323658984847002</c:v>
                </c:pt>
                <c:pt idx="20">
                  <c:v>0.24318945340284701</c:v>
                </c:pt>
                <c:pt idx="21">
                  <c:v>0.20179584022139599</c:v>
                </c:pt>
                <c:pt idx="22">
                  <c:v>0.18235020590125001</c:v>
                </c:pt>
                <c:pt idx="23">
                  <c:v>0.15125108973339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BARACLUDE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0.211276654334313</c:v>
                </c:pt>
                <c:pt idx="1">
                  <c:v>0.21869738968449701</c:v>
                </c:pt>
                <c:pt idx="2">
                  <c:v>0.21773199921314701</c:v>
                </c:pt>
                <c:pt idx="3">
                  <c:v>0.21641743371393499</c:v>
                </c:pt>
                <c:pt idx="4">
                  <c:v>0.21059846609910801</c:v>
                </c:pt>
                <c:pt idx="5">
                  <c:v>0.19219884173735999</c:v>
                </c:pt>
                <c:pt idx="6">
                  <c:v>0.21956305233547499</c:v>
                </c:pt>
                <c:pt idx="7">
                  <c:v>0.206905244072106</c:v>
                </c:pt>
                <c:pt idx="8">
                  <c:v>0.21483268343458101</c:v>
                </c:pt>
                <c:pt idx="9">
                  <c:v>0.18862713239062201</c:v>
                </c:pt>
                <c:pt idx="10">
                  <c:v>0.19264718922367599</c:v>
                </c:pt>
                <c:pt idx="11">
                  <c:v>0.18506751143277</c:v>
                </c:pt>
                <c:pt idx="12">
                  <c:v>0.20730973416194801</c:v>
                </c:pt>
                <c:pt idx="13">
                  <c:v>0.190699756088577</c:v>
                </c:pt>
                <c:pt idx="14">
                  <c:v>0.196186677368544</c:v>
                </c:pt>
                <c:pt idx="15">
                  <c:v>0.19419227937198599</c:v>
                </c:pt>
                <c:pt idx="16">
                  <c:v>0.19776892919353001</c:v>
                </c:pt>
                <c:pt idx="17">
                  <c:v>0.193672377819813</c:v>
                </c:pt>
                <c:pt idx="18">
                  <c:v>0.20652146768506699</c:v>
                </c:pt>
                <c:pt idx="19">
                  <c:v>0.21662720026392199</c:v>
                </c:pt>
                <c:pt idx="20">
                  <c:v>0.226712700914183</c:v>
                </c:pt>
                <c:pt idx="21">
                  <c:v>0.32195168865298102</c:v>
                </c:pt>
                <c:pt idx="22">
                  <c:v>0.33948178029410803</c:v>
                </c:pt>
                <c:pt idx="23">
                  <c:v>0.35585064343004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VIREAD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9.7840658796586905E-2</c:v>
                </c:pt>
                <c:pt idx="1">
                  <c:v>0.106416275852384</c:v>
                </c:pt>
                <c:pt idx="2">
                  <c:v>0.108219304879452</c:v>
                </c:pt>
                <c:pt idx="3">
                  <c:v>0.116068788092714</c:v>
                </c:pt>
                <c:pt idx="4">
                  <c:v>0.115725808600059</c:v>
                </c:pt>
                <c:pt idx="5">
                  <c:v>0.120530246120271</c:v>
                </c:pt>
                <c:pt idx="6">
                  <c:v>0.11294367028879999</c:v>
                </c:pt>
                <c:pt idx="7">
                  <c:v>0.12656114098290799</c:v>
                </c:pt>
                <c:pt idx="8">
                  <c:v>0.12535594155516799</c:v>
                </c:pt>
                <c:pt idx="9">
                  <c:v>0.125135565769187</c:v>
                </c:pt>
                <c:pt idx="10">
                  <c:v>0.15709597775671699</c:v>
                </c:pt>
                <c:pt idx="11">
                  <c:v>0.14060662232337401</c:v>
                </c:pt>
                <c:pt idx="12">
                  <c:v>0.12501403709514</c:v>
                </c:pt>
                <c:pt idx="13">
                  <c:v>0.135443487542485</c:v>
                </c:pt>
                <c:pt idx="14">
                  <c:v>0.13895615878277301</c:v>
                </c:pt>
                <c:pt idx="15">
                  <c:v>0.14218734833962501</c:v>
                </c:pt>
                <c:pt idx="16">
                  <c:v>0.14341819083802501</c:v>
                </c:pt>
                <c:pt idx="17">
                  <c:v>0.15494253070997299</c:v>
                </c:pt>
                <c:pt idx="18">
                  <c:v>0.13823066145209401</c:v>
                </c:pt>
                <c:pt idx="19">
                  <c:v>0.14852568661056501</c:v>
                </c:pt>
                <c:pt idx="20">
                  <c:v>0.19890668297833</c:v>
                </c:pt>
                <c:pt idx="21">
                  <c:v>0.17426953025480299</c:v>
                </c:pt>
                <c:pt idx="22">
                  <c:v>0.165996300699775</c:v>
                </c:pt>
                <c:pt idx="23">
                  <c:v>0.166949586840393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WEI LI QING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4.7722546226596399E-2</c:v>
                </c:pt>
                <c:pt idx="1">
                  <c:v>4.6493322244810002E-2</c:v>
                </c:pt>
                <c:pt idx="2">
                  <c:v>4.23245190430954E-2</c:v>
                </c:pt>
                <c:pt idx="3">
                  <c:v>4.6329391612390101E-2</c:v>
                </c:pt>
                <c:pt idx="4">
                  <c:v>4.8231458731182897E-2</c:v>
                </c:pt>
                <c:pt idx="5">
                  <c:v>4.8568674812295098E-2</c:v>
                </c:pt>
                <c:pt idx="6">
                  <c:v>4.5037207979204102E-2</c:v>
                </c:pt>
                <c:pt idx="7">
                  <c:v>4.8757427775172099E-2</c:v>
                </c:pt>
                <c:pt idx="8">
                  <c:v>5.1503546014049703E-2</c:v>
                </c:pt>
                <c:pt idx="9">
                  <c:v>5.48194167390764E-2</c:v>
                </c:pt>
                <c:pt idx="10">
                  <c:v>4.3446152446932E-2</c:v>
                </c:pt>
                <c:pt idx="11">
                  <c:v>5.36402531375718E-2</c:v>
                </c:pt>
                <c:pt idx="12">
                  <c:v>6.3054940366229495E-2</c:v>
                </c:pt>
                <c:pt idx="13">
                  <c:v>5.5044860680136698E-2</c:v>
                </c:pt>
                <c:pt idx="14">
                  <c:v>5.82943265057402E-2</c:v>
                </c:pt>
                <c:pt idx="15">
                  <c:v>5.8083530281631102E-2</c:v>
                </c:pt>
                <c:pt idx="16">
                  <c:v>6.10927635058185E-2</c:v>
                </c:pt>
                <c:pt idx="17">
                  <c:v>6.3223417167946397E-2</c:v>
                </c:pt>
                <c:pt idx="18">
                  <c:v>6.2633571481129399E-2</c:v>
                </c:pt>
                <c:pt idx="19">
                  <c:v>7.2098752650807493E-2</c:v>
                </c:pt>
                <c:pt idx="20">
                  <c:v>5.9348196542359899E-2</c:v>
                </c:pt>
                <c:pt idx="21">
                  <c:v>2.61669806702657E-2</c:v>
                </c:pt>
                <c:pt idx="22">
                  <c:v>1.88361809441836E-2</c:v>
                </c:pt>
                <c:pt idx="23">
                  <c:v>2.81384522459054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EGD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1.53397111839519E-2</c:v>
                </c:pt>
                <c:pt idx="1">
                  <c:v>1.5954812195214201E-2</c:v>
                </c:pt>
                <c:pt idx="2">
                  <c:v>1.5908920406290002E-2</c:v>
                </c:pt>
                <c:pt idx="3">
                  <c:v>1.43158816285699E-2</c:v>
                </c:pt>
                <c:pt idx="4">
                  <c:v>1.5883520856766101E-2</c:v>
                </c:pt>
                <c:pt idx="5">
                  <c:v>1.35931284439541E-2</c:v>
                </c:pt>
                <c:pt idx="6">
                  <c:v>1.5510907526144599E-2</c:v>
                </c:pt>
                <c:pt idx="7">
                  <c:v>1.44775422988384E-2</c:v>
                </c:pt>
                <c:pt idx="8">
                  <c:v>1.7082193802537102E-2</c:v>
                </c:pt>
                <c:pt idx="9">
                  <c:v>1.39360979666772E-2</c:v>
                </c:pt>
                <c:pt idx="10">
                  <c:v>1.3095021554376999E-2</c:v>
                </c:pt>
                <c:pt idx="11">
                  <c:v>1.3711005852050699E-2</c:v>
                </c:pt>
                <c:pt idx="12">
                  <c:v>1.33511477003338E-2</c:v>
                </c:pt>
                <c:pt idx="13">
                  <c:v>1.4308933398384601E-2</c:v>
                </c:pt>
                <c:pt idx="14">
                  <c:v>1.42516055135279E-2</c:v>
                </c:pt>
                <c:pt idx="15">
                  <c:v>1.6482512406534301E-2</c:v>
                </c:pt>
                <c:pt idx="16">
                  <c:v>1.3432387563533099E-2</c:v>
                </c:pt>
                <c:pt idx="17">
                  <c:v>1.5136686582929699E-2</c:v>
                </c:pt>
                <c:pt idx="18">
                  <c:v>1.3741107583394E-2</c:v>
                </c:pt>
                <c:pt idx="19">
                  <c:v>1.8355715320957099E-2</c:v>
                </c:pt>
                <c:pt idx="20">
                  <c:v>1.8578158530068601E-2</c:v>
                </c:pt>
                <c:pt idx="21">
                  <c:v>2.1091335874562401E-2</c:v>
                </c:pt>
                <c:pt idx="22">
                  <c:v>2.1634861300717598E-2</c:v>
                </c:pt>
                <c:pt idx="23">
                  <c:v>2.69887965755018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GAN BEI QING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2.3319166435040901E-2</c:v>
                </c:pt>
                <c:pt idx="1">
                  <c:v>1.9584210574277099E-2</c:v>
                </c:pt>
                <c:pt idx="2">
                  <c:v>1.9179582762619999E-2</c:v>
                </c:pt>
                <c:pt idx="3">
                  <c:v>2.6724057616428099E-2</c:v>
                </c:pt>
                <c:pt idx="4">
                  <c:v>2.1674794359872799E-2</c:v>
                </c:pt>
                <c:pt idx="5">
                  <c:v>1.8859278783993499E-2</c:v>
                </c:pt>
                <c:pt idx="6">
                  <c:v>2.1451252995795901E-2</c:v>
                </c:pt>
                <c:pt idx="7">
                  <c:v>2.3996701094653499E-2</c:v>
                </c:pt>
                <c:pt idx="8">
                  <c:v>1.92389843165367E-2</c:v>
                </c:pt>
                <c:pt idx="9">
                  <c:v>2.0814295445486901E-2</c:v>
                </c:pt>
                <c:pt idx="10">
                  <c:v>1.7892929192352702E-2</c:v>
                </c:pt>
                <c:pt idx="11">
                  <c:v>1.9108577590085201E-2</c:v>
                </c:pt>
                <c:pt idx="12">
                  <c:v>1.7391174577989901E-2</c:v>
                </c:pt>
                <c:pt idx="13">
                  <c:v>2.11121982876082E-2</c:v>
                </c:pt>
                <c:pt idx="14">
                  <c:v>2.0462542519627501E-2</c:v>
                </c:pt>
                <c:pt idx="15">
                  <c:v>2.07594701695379E-2</c:v>
                </c:pt>
                <c:pt idx="16">
                  <c:v>2.1349970192590901E-2</c:v>
                </c:pt>
                <c:pt idx="17">
                  <c:v>2.0259110188368699E-2</c:v>
                </c:pt>
                <c:pt idx="18">
                  <c:v>1.984115887339E-2</c:v>
                </c:pt>
                <c:pt idx="19">
                  <c:v>2.3257947901540899E-2</c:v>
                </c:pt>
                <c:pt idx="20">
                  <c:v>2.1699843822846499E-2</c:v>
                </c:pt>
                <c:pt idx="21">
                  <c:v>6.8636464206247401E-3</c:v>
                </c:pt>
                <c:pt idx="22">
                  <c:v>8.1966426715042902E-3</c:v>
                </c:pt>
                <c:pt idx="23">
                  <c:v>6.818990501581340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LEI YI DE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3.5377053526083703E-2</c:v>
                </c:pt>
                <c:pt idx="1">
                  <c:v>3.1803913763342503E-2</c:v>
                </c:pt>
                <c:pt idx="2">
                  <c:v>3.28436871642665E-2</c:v>
                </c:pt>
                <c:pt idx="3">
                  <c:v>3.6783011207994903E-2</c:v>
                </c:pt>
                <c:pt idx="4">
                  <c:v>3.0608421407142799E-2</c:v>
                </c:pt>
                <c:pt idx="5">
                  <c:v>3.4652868251075102E-2</c:v>
                </c:pt>
                <c:pt idx="6">
                  <c:v>3.77902984777913E-2</c:v>
                </c:pt>
                <c:pt idx="7">
                  <c:v>3.6814886469816399E-2</c:v>
                </c:pt>
                <c:pt idx="8">
                  <c:v>3.6290366085748399E-2</c:v>
                </c:pt>
                <c:pt idx="9">
                  <c:v>3.2103292218527202E-2</c:v>
                </c:pt>
                <c:pt idx="10">
                  <c:v>3.60594221391108E-2</c:v>
                </c:pt>
                <c:pt idx="11">
                  <c:v>3.6482962854473201E-2</c:v>
                </c:pt>
                <c:pt idx="12">
                  <c:v>3.7671404544605103E-2</c:v>
                </c:pt>
                <c:pt idx="13">
                  <c:v>4.0361396012117398E-2</c:v>
                </c:pt>
                <c:pt idx="14">
                  <c:v>3.6204840714910203E-2</c:v>
                </c:pt>
                <c:pt idx="15">
                  <c:v>3.3158841259043302E-2</c:v>
                </c:pt>
                <c:pt idx="16">
                  <c:v>3.0619311654649199E-2</c:v>
                </c:pt>
                <c:pt idx="17">
                  <c:v>3.2765269795592897E-2</c:v>
                </c:pt>
                <c:pt idx="18">
                  <c:v>2.5380680058601401E-2</c:v>
                </c:pt>
                <c:pt idx="19">
                  <c:v>2.88240719163824E-2</c:v>
                </c:pt>
                <c:pt idx="20">
                  <c:v>2.4274936745099299E-2</c:v>
                </c:pt>
                <c:pt idx="21">
                  <c:v>2.0780683390965698E-2</c:v>
                </c:pt>
                <c:pt idx="22">
                  <c:v>1.26872414053864E-2</c:v>
                </c:pt>
                <c:pt idx="23">
                  <c:v>2.2136058926948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ING ZHENG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1.8100600965052401E-2</c:v>
                </c:pt>
                <c:pt idx="1">
                  <c:v>1.6654389853285202E-2</c:v>
                </c:pt>
                <c:pt idx="2">
                  <c:v>1.56954336734073E-2</c:v>
                </c:pt>
                <c:pt idx="3">
                  <c:v>1.70087586534476E-2</c:v>
                </c:pt>
                <c:pt idx="4">
                  <c:v>1.42983570403674E-2</c:v>
                </c:pt>
                <c:pt idx="5">
                  <c:v>1.47072110694453E-2</c:v>
                </c:pt>
                <c:pt idx="6">
                  <c:v>1.24990260020717E-2</c:v>
                </c:pt>
                <c:pt idx="7">
                  <c:v>1.43847149572363E-2</c:v>
                </c:pt>
                <c:pt idx="8">
                  <c:v>1.2146770421241401E-2</c:v>
                </c:pt>
                <c:pt idx="9">
                  <c:v>1.4335858718337501E-2</c:v>
                </c:pt>
                <c:pt idx="10">
                  <c:v>1.3564911028614001E-2</c:v>
                </c:pt>
                <c:pt idx="11">
                  <c:v>1.1507837808265E-2</c:v>
                </c:pt>
                <c:pt idx="12">
                  <c:v>1.2846831199141101E-2</c:v>
                </c:pt>
                <c:pt idx="13">
                  <c:v>1.3389842666092701E-2</c:v>
                </c:pt>
                <c:pt idx="14">
                  <c:v>1.20198383312837E-2</c:v>
                </c:pt>
                <c:pt idx="15">
                  <c:v>1.18256267512989E-2</c:v>
                </c:pt>
                <c:pt idx="16">
                  <c:v>1.27655009494146E-2</c:v>
                </c:pt>
                <c:pt idx="17">
                  <c:v>1.1818747827159099E-2</c:v>
                </c:pt>
                <c:pt idx="18">
                  <c:v>1.08175262179532E-2</c:v>
                </c:pt>
                <c:pt idx="19">
                  <c:v>7.3993512903532104E-3</c:v>
                </c:pt>
                <c:pt idx="20">
                  <c:v>9.2439054388152794E-3</c:v>
                </c:pt>
                <c:pt idx="21">
                  <c:v>1.73287427260383E-2</c:v>
                </c:pt>
                <c:pt idx="22">
                  <c:v>2.40783339218614E-2</c:v>
                </c:pt>
                <c:pt idx="23">
                  <c:v>1.4103684041117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BEI SHUANG DING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1.7140370008736999E-2</c:v>
                </c:pt>
                <c:pt idx="1">
                  <c:v>1.59487013892998E-2</c:v>
                </c:pt>
                <c:pt idx="2">
                  <c:v>2.0225905096444199E-2</c:v>
                </c:pt>
                <c:pt idx="3">
                  <c:v>1.6374812448461899E-2</c:v>
                </c:pt>
                <c:pt idx="4">
                  <c:v>2.0190846116493001E-2</c:v>
                </c:pt>
                <c:pt idx="5">
                  <c:v>2.13315285982353E-2</c:v>
                </c:pt>
                <c:pt idx="6">
                  <c:v>1.94361279613737E-2</c:v>
                </c:pt>
                <c:pt idx="7">
                  <c:v>1.8535549612431802E-2</c:v>
                </c:pt>
                <c:pt idx="8">
                  <c:v>1.87571908610541E-2</c:v>
                </c:pt>
                <c:pt idx="9">
                  <c:v>1.9543557840164701E-2</c:v>
                </c:pt>
                <c:pt idx="10">
                  <c:v>1.7462160956727899E-2</c:v>
                </c:pt>
                <c:pt idx="11">
                  <c:v>2.53003517970407E-2</c:v>
                </c:pt>
                <c:pt idx="12">
                  <c:v>2.29730404684978E-2</c:v>
                </c:pt>
                <c:pt idx="13">
                  <c:v>1.82752700069348E-2</c:v>
                </c:pt>
                <c:pt idx="14">
                  <c:v>2.6702611176379398E-2</c:v>
                </c:pt>
                <c:pt idx="15">
                  <c:v>2.08584828279391E-2</c:v>
                </c:pt>
                <c:pt idx="16">
                  <c:v>2.6027293152073298E-2</c:v>
                </c:pt>
                <c:pt idx="17">
                  <c:v>2.3687483343438499E-2</c:v>
                </c:pt>
                <c:pt idx="18">
                  <c:v>2.3346632902145E-2</c:v>
                </c:pt>
                <c:pt idx="19">
                  <c:v>2.3677780318457398E-2</c:v>
                </c:pt>
                <c:pt idx="20">
                  <c:v>2.7602733045908202E-2</c:v>
                </c:pt>
                <c:pt idx="21">
                  <c:v>1.51933344401626E-2</c:v>
                </c:pt>
                <c:pt idx="22">
                  <c:v>1.8440808460838499E-2</c:v>
                </c:pt>
                <c:pt idx="23">
                  <c:v>1.33482031857247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HEPTODIN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3.5087516178830901E-2</c:v>
                </c:pt>
                <c:pt idx="1">
                  <c:v>3.2178516737436103E-2</c:v>
                </c:pt>
                <c:pt idx="2">
                  <c:v>3.1909955588526898E-2</c:v>
                </c:pt>
                <c:pt idx="3">
                  <c:v>3.1645245754174801E-2</c:v>
                </c:pt>
                <c:pt idx="4">
                  <c:v>3.0120046450446102E-2</c:v>
                </c:pt>
                <c:pt idx="5">
                  <c:v>2.9482184597356301E-2</c:v>
                </c:pt>
                <c:pt idx="6">
                  <c:v>2.6000055301892401E-2</c:v>
                </c:pt>
                <c:pt idx="7">
                  <c:v>2.504404870199E-2</c:v>
                </c:pt>
                <c:pt idx="8">
                  <c:v>2.76581959608862E-2</c:v>
                </c:pt>
                <c:pt idx="9">
                  <c:v>2.6786898185557399E-2</c:v>
                </c:pt>
                <c:pt idx="10">
                  <c:v>2.1421298934429001E-2</c:v>
                </c:pt>
                <c:pt idx="11">
                  <c:v>2.25586659757342E-2</c:v>
                </c:pt>
                <c:pt idx="12">
                  <c:v>2.67032712340186E-2</c:v>
                </c:pt>
                <c:pt idx="13">
                  <c:v>2.48105781031915E-2</c:v>
                </c:pt>
                <c:pt idx="14">
                  <c:v>2.39724053130684E-2</c:v>
                </c:pt>
                <c:pt idx="15">
                  <c:v>2.4112709577921901E-2</c:v>
                </c:pt>
                <c:pt idx="16">
                  <c:v>2.2553813300266901E-2</c:v>
                </c:pt>
                <c:pt idx="17">
                  <c:v>2.3596381481615299E-2</c:v>
                </c:pt>
                <c:pt idx="18">
                  <c:v>2.4056189590283598E-2</c:v>
                </c:pt>
                <c:pt idx="19">
                  <c:v>2.4552264386391E-2</c:v>
                </c:pt>
                <c:pt idx="20">
                  <c:v>3.1787536648698198E-2</c:v>
                </c:pt>
                <c:pt idx="21">
                  <c:v>4.3007677864942501E-2</c:v>
                </c:pt>
                <c:pt idx="22">
                  <c:v>3.7289427767735403E-2</c:v>
                </c:pt>
                <c:pt idx="23">
                  <c:v>5.5070514574296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0.130626378123501</c:v>
                </c:pt>
                <c:pt idx="1">
                  <c:v>0.12596692223747899</c:v>
                </c:pt>
                <c:pt idx="2">
                  <c:v>0.12543757746078499</c:v>
                </c:pt>
                <c:pt idx="3">
                  <c:v>0.122189156510671</c:v>
                </c:pt>
                <c:pt idx="4">
                  <c:v>0.124708152596821</c:v>
                </c:pt>
                <c:pt idx="5">
                  <c:v>0.11589786149475099</c:v>
                </c:pt>
                <c:pt idx="6">
                  <c:v>0.123075775681973</c:v>
                </c:pt>
                <c:pt idx="7">
                  <c:v>0.12222622953872</c:v>
                </c:pt>
                <c:pt idx="8">
                  <c:v>0.132013943031906</c:v>
                </c:pt>
                <c:pt idx="9">
                  <c:v>0.115650709877059</c:v>
                </c:pt>
                <c:pt idx="10">
                  <c:v>0.13534927562514401</c:v>
                </c:pt>
                <c:pt idx="11">
                  <c:v>0.12615647516704301</c:v>
                </c:pt>
                <c:pt idx="12">
                  <c:v>0.13689132919420499</c:v>
                </c:pt>
                <c:pt idx="13">
                  <c:v>0.12727719543529101</c:v>
                </c:pt>
                <c:pt idx="14">
                  <c:v>0.121995871362375</c:v>
                </c:pt>
                <c:pt idx="15">
                  <c:v>0.12818038822024799</c:v>
                </c:pt>
                <c:pt idx="16">
                  <c:v>0.13300254754018501</c:v>
                </c:pt>
                <c:pt idx="17">
                  <c:v>0.125568558305754</c:v>
                </c:pt>
                <c:pt idx="18">
                  <c:v>0.134048038741546</c:v>
                </c:pt>
                <c:pt idx="19">
                  <c:v>0.13344463949215299</c:v>
                </c:pt>
                <c:pt idx="20">
                  <c:v>0.13865585193084401</c:v>
                </c:pt>
                <c:pt idx="21">
                  <c:v>0.151550539483257</c:v>
                </c:pt>
                <c:pt idx="22">
                  <c:v>0.17100821663263899</c:v>
                </c:pt>
                <c:pt idx="23">
                  <c:v>0.15934397994509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018984"/>
        <c:axId val="521019768"/>
        <c:extLst/>
      </c:lineChart>
      <c:catAx>
        <c:axId val="52101898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019768"/>
        <c:crosses val="autoZero"/>
        <c:auto val="1"/>
        <c:lblAlgn val="ctr"/>
        <c:lblOffset val="100"/>
        <c:noMultiLvlLbl val="0"/>
      </c:catAx>
      <c:valAx>
        <c:axId val="52101976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alue Share (%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01898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TIAN DING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0.42099584608937801</c:v>
                </c:pt>
                <c:pt idx="1">
                  <c:v>0.434052076267891</c:v>
                </c:pt>
                <c:pt idx="2">
                  <c:v>0.435797545068145</c:v>
                </c:pt>
                <c:pt idx="3">
                  <c:v>0.41086145620094</c:v>
                </c:pt>
                <c:pt idx="4">
                  <c:v>0.411791510938739</c:v>
                </c:pt>
                <c:pt idx="5">
                  <c:v>0.433543260777007</c:v>
                </c:pt>
                <c:pt idx="6">
                  <c:v>0.41120827790429998</c:v>
                </c:pt>
                <c:pt idx="7">
                  <c:v>0.40565172405660999</c:v>
                </c:pt>
                <c:pt idx="8">
                  <c:v>0.39667956854340802</c:v>
                </c:pt>
                <c:pt idx="9">
                  <c:v>0.43103398479994398</c:v>
                </c:pt>
                <c:pt idx="10">
                  <c:v>0.42136665640257198</c:v>
                </c:pt>
                <c:pt idx="11">
                  <c:v>0.44616467616246702</c:v>
                </c:pt>
                <c:pt idx="12">
                  <c:v>0.43207709041772102</c:v>
                </c:pt>
                <c:pt idx="13">
                  <c:v>0.44782845014439698</c:v>
                </c:pt>
                <c:pt idx="14">
                  <c:v>0.46013798739960199</c:v>
                </c:pt>
                <c:pt idx="15">
                  <c:v>0.46921547433204802</c:v>
                </c:pt>
                <c:pt idx="16">
                  <c:v>0.45627115128673301</c:v>
                </c:pt>
                <c:pt idx="17">
                  <c:v>0.45872452615602199</c:v>
                </c:pt>
                <c:pt idx="18">
                  <c:v>0.46687675689354902</c:v>
                </c:pt>
                <c:pt idx="19">
                  <c:v>0.43906769212264202</c:v>
                </c:pt>
                <c:pt idx="20">
                  <c:v>0.37433609470296803</c:v>
                </c:pt>
                <c:pt idx="21">
                  <c:v>0.29901527740709899</c:v>
                </c:pt>
                <c:pt idx="22">
                  <c:v>0.344255919241719</c:v>
                </c:pt>
                <c:pt idx="23">
                  <c:v>0.26095056582934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BARACLUDE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0.13243446915211601</c:v>
                </c:pt>
                <c:pt idx="1">
                  <c:v>0.13776592920404401</c:v>
                </c:pt>
                <c:pt idx="2">
                  <c:v>0.13544824465098501</c:v>
                </c:pt>
                <c:pt idx="3">
                  <c:v>0.1356457732853</c:v>
                </c:pt>
                <c:pt idx="4">
                  <c:v>0.13451459565339099</c:v>
                </c:pt>
                <c:pt idx="5">
                  <c:v>0.12416785894906</c:v>
                </c:pt>
                <c:pt idx="6">
                  <c:v>0.141708142785306</c:v>
                </c:pt>
                <c:pt idx="7">
                  <c:v>0.134874210701379</c:v>
                </c:pt>
                <c:pt idx="8">
                  <c:v>0.13958820906473501</c:v>
                </c:pt>
                <c:pt idx="9">
                  <c:v>0.121333724396274</c:v>
                </c:pt>
                <c:pt idx="10">
                  <c:v>0.128547912518616</c:v>
                </c:pt>
                <c:pt idx="11">
                  <c:v>0.117779230738932</c:v>
                </c:pt>
                <c:pt idx="12">
                  <c:v>0.136289445509609</c:v>
                </c:pt>
                <c:pt idx="13">
                  <c:v>0.12801051594943899</c:v>
                </c:pt>
                <c:pt idx="14">
                  <c:v>0.126244872454635</c:v>
                </c:pt>
                <c:pt idx="15">
                  <c:v>0.12667099611763399</c:v>
                </c:pt>
                <c:pt idx="16">
                  <c:v>0.12772342047167101</c:v>
                </c:pt>
                <c:pt idx="17">
                  <c:v>0.12711845177828199</c:v>
                </c:pt>
                <c:pt idx="18">
                  <c:v>0.131211661932289</c:v>
                </c:pt>
                <c:pt idx="19">
                  <c:v>0.13705322069926401</c:v>
                </c:pt>
                <c:pt idx="20">
                  <c:v>0.129338931891608</c:v>
                </c:pt>
                <c:pt idx="21">
                  <c:v>0.159751938539095</c:v>
                </c:pt>
                <c:pt idx="22">
                  <c:v>0.19308951490863799</c:v>
                </c:pt>
                <c:pt idx="23">
                  <c:v>0.16416350907291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VIREAD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2.32038557625634E-2</c:v>
                </c:pt>
                <c:pt idx="1">
                  <c:v>2.5422781071548099E-2</c:v>
                </c:pt>
                <c:pt idx="2">
                  <c:v>2.5425895374487101E-2</c:v>
                </c:pt>
                <c:pt idx="3">
                  <c:v>2.72729660065026E-2</c:v>
                </c:pt>
                <c:pt idx="4">
                  <c:v>2.78285821938473E-2</c:v>
                </c:pt>
                <c:pt idx="5">
                  <c:v>2.9300307530643801E-2</c:v>
                </c:pt>
                <c:pt idx="6">
                  <c:v>2.7131607995807199E-2</c:v>
                </c:pt>
                <c:pt idx="7">
                  <c:v>3.0698912489635601E-2</c:v>
                </c:pt>
                <c:pt idx="8">
                  <c:v>3.05480917738159E-2</c:v>
                </c:pt>
                <c:pt idx="9">
                  <c:v>2.9798839031295099E-2</c:v>
                </c:pt>
                <c:pt idx="10">
                  <c:v>3.90855469132581E-2</c:v>
                </c:pt>
                <c:pt idx="11">
                  <c:v>3.2759740404247797E-2</c:v>
                </c:pt>
                <c:pt idx="12">
                  <c:v>3.0796898584975099E-2</c:v>
                </c:pt>
                <c:pt idx="13">
                  <c:v>3.3574482231115102E-2</c:v>
                </c:pt>
                <c:pt idx="14">
                  <c:v>3.3081784458130099E-2</c:v>
                </c:pt>
                <c:pt idx="15">
                  <c:v>3.4174426949380797E-2</c:v>
                </c:pt>
                <c:pt idx="16">
                  <c:v>3.47256319128686E-2</c:v>
                </c:pt>
                <c:pt idx="17">
                  <c:v>3.7214962023292303E-2</c:v>
                </c:pt>
                <c:pt idx="18">
                  <c:v>3.2972644611663597E-2</c:v>
                </c:pt>
                <c:pt idx="19">
                  <c:v>3.5194661134841501E-2</c:v>
                </c:pt>
                <c:pt idx="20">
                  <c:v>4.28009871071246E-2</c:v>
                </c:pt>
                <c:pt idx="21">
                  <c:v>3.5002537064340797E-2</c:v>
                </c:pt>
                <c:pt idx="22">
                  <c:v>3.9630335307915897E-2</c:v>
                </c:pt>
                <c:pt idx="23">
                  <c:v>3.2290889476108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WEI LI QING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6.4129235997875303E-2</c:v>
                </c:pt>
                <c:pt idx="1">
                  <c:v>6.4674884443099295E-2</c:v>
                </c:pt>
                <c:pt idx="2">
                  <c:v>5.8980441480639599E-2</c:v>
                </c:pt>
                <c:pt idx="3">
                  <c:v>6.4462428152169599E-2</c:v>
                </c:pt>
                <c:pt idx="4">
                  <c:v>6.97451812375703E-2</c:v>
                </c:pt>
                <c:pt idx="5">
                  <c:v>7.1071490456589004E-2</c:v>
                </c:pt>
                <c:pt idx="6">
                  <c:v>6.67328750994505E-2</c:v>
                </c:pt>
                <c:pt idx="7">
                  <c:v>7.1261890340806502E-2</c:v>
                </c:pt>
                <c:pt idx="8">
                  <c:v>7.4860636557440893E-2</c:v>
                </c:pt>
                <c:pt idx="9">
                  <c:v>7.71477116259177E-2</c:v>
                </c:pt>
                <c:pt idx="10">
                  <c:v>6.5395920763639606E-2</c:v>
                </c:pt>
                <c:pt idx="11">
                  <c:v>7.4634794709237798E-2</c:v>
                </c:pt>
                <c:pt idx="12">
                  <c:v>8.3636093790563401E-2</c:v>
                </c:pt>
                <c:pt idx="13">
                  <c:v>7.76829029237701E-2</c:v>
                </c:pt>
                <c:pt idx="14">
                  <c:v>7.6661525845413497E-2</c:v>
                </c:pt>
                <c:pt idx="15">
                  <c:v>7.5507760362939796E-2</c:v>
                </c:pt>
                <c:pt idx="16">
                  <c:v>7.9151929784902694E-2</c:v>
                </c:pt>
                <c:pt idx="17">
                  <c:v>8.1901932093980404E-2</c:v>
                </c:pt>
                <c:pt idx="18">
                  <c:v>8.22286990404065E-2</c:v>
                </c:pt>
                <c:pt idx="19">
                  <c:v>9.0800488056345496E-2</c:v>
                </c:pt>
                <c:pt idx="20">
                  <c:v>6.5475403375013896E-2</c:v>
                </c:pt>
                <c:pt idx="21">
                  <c:v>2.8743445372293001E-2</c:v>
                </c:pt>
                <c:pt idx="22">
                  <c:v>2.9171142368429201E-2</c:v>
                </c:pt>
                <c:pt idx="23">
                  <c:v>3.09118089577984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EGD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2.9056760422668901E-2</c:v>
                </c:pt>
                <c:pt idx="1">
                  <c:v>2.8647906663551201E-2</c:v>
                </c:pt>
                <c:pt idx="2">
                  <c:v>3.0703662240220999E-2</c:v>
                </c:pt>
                <c:pt idx="3">
                  <c:v>2.8217777804638199E-2</c:v>
                </c:pt>
                <c:pt idx="4">
                  <c:v>3.2110207146814701E-2</c:v>
                </c:pt>
                <c:pt idx="5">
                  <c:v>2.78323073184551E-2</c:v>
                </c:pt>
                <c:pt idx="6">
                  <c:v>3.2325396293744597E-2</c:v>
                </c:pt>
                <c:pt idx="7">
                  <c:v>3.3162988131394899E-2</c:v>
                </c:pt>
                <c:pt idx="8">
                  <c:v>3.7184820555126202E-2</c:v>
                </c:pt>
                <c:pt idx="9">
                  <c:v>3.1134043051842E-2</c:v>
                </c:pt>
                <c:pt idx="10">
                  <c:v>3.0333471626072799E-2</c:v>
                </c:pt>
                <c:pt idx="11">
                  <c:v>3.0494621327687401E-2</c:v>
                </c:pt>
                <c:pt idx="12">
                  <c:v>2.9722492208741898E-2</c:v>
                </c:pt>
                <c:pt idx="13">
                  <c:v>3.2324359210892599E-2</c:v>
                </c:pt>
                <c:pt idx="14">
                  <c:v>3.0781037267882099E-2</c:v>
                </c:pt>
                <c:pt idx="15">
                  <c:v>3.4370214810585699E-2</c:v>
                </c:pt>
                <c:pt idx="16">
                  <c:v>2.8961009358922901E-2</c:v>
                </c:pt>
                <c:pt idx="17">
                  <c:v>3.2883455646384598E-2</c:v>
                </c:pt>
                <c:pt idx="18">
                  <c:v>2.78194097706779E-2</c:v>
                </c:pt>
                <c:pt idx="19">
                  <c:v>3.8092486381048701E-2</c:v>
                </c:pt>
                <c:pt idx="20">
                  <c:v>8.3744479850305503E-2</c:v>
                </c:pt>
                <c:pt idx="21">
                  <c:v>0.129657406658583</c:v>
                </c:pt>
                <c:pt idx="22">
                  <c:v>0.114203834377042</c:v>
                </c:pt>
                <c:pt idx="23">
                  <c:v>0.15504109502694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GAN BEI QING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6.9707176080883101E-2</c:v>
                </c:pt>
                <c:pt idx="1">
                  <c:v>5.91703799671323E-2</c:v>
                </c:pt>
                <c:pt idx="2">
                  <c:v>5.8116595988427E-2</c:v>
                </c:pt>
                <c:pt idx="3">
                  <c:v>8.2369573888905506E-2</c:v>
                </c:pt>
                <c:pt idx="4">
                  <c:v>7.0128349894281294E-2</c:v>
                </c:pt>
                <c:pt idx="5">
                  <c:v>6.4303462690757998E-2</c:v>
                </c:pt>
                <c:pt idx="6">
                  <c:v>6.9018281900221301E-2</c:v>
                </c:pt>
                <c:pt idx="7">
                  <c:v>7.9999294913696395E-2</c:v>
                </c:pt>
                <c:pt idx="8">
                  <c:v>6.5231307683778397E-2</c:v>
                </c:pt>
                <c:pt idx="9">
                  <c:v>6.9517690531662804E-2</c:v>
                </c:pt>
                <c:pt idx="10">
                  <c:v>6.3481302293465006E-2</c:v>
                </c:pt>
                <c:pt idx="11">
                  <c:v>5.9175950771192899E-2</c:v>
                </c:pt>
                <c:pt idx="12">
                  <c:v>4.5988223454504797E-2</c:v>
                </c:pt>
                <c:pt idx="13">
                  <c:v>5.9822235093406999E-2</c:v>
                </c:pt>
                <c:pt idx="14">
                  <c:v>4.8978537007765201E-2</c:v>
                </c:pt>
                <c:pt idx="15">
                  <c:v>4.7286742448444198E-2</c:v>
                </c:pt>
                <c:pt idx="16">
                  <c:v>5.0964773818033902E-2</c:v>
                </c:pt>
                <c:pt idx="17">
                  <c:v>4.6957507590895398E-2</c:v>
                </c:pt>
                <c:pt idx="18">
                  <c:v>4.7932247710131201E-2</c:v>
                </c:pt>
                <c:pt idx="19">
                  <c:v>5.3560188440665797E-2</c:v>
                </c:pt>
                <c:pt idx="20">
                  <c:v>4.1797333982022601E-2</c:v>
                </c:pt>
                <c:pt idx="21">
                  <c:v>1.3283119455737E-2</c:v>
                </c:pt>
                <c:pt idx="22">
                  <c:v>1.79019807624472E-2</c:v>
                </c:pt>
                <c:pt idx="23">
                  <c:v>1.31722271406766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LEI YI DE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3.1241009633612999E-2</c:v>
                </c:pt>
                <c:pt idx="1">
                  <c:v>2.81014857811267E-2</c:v>
                </c:pt>
                <c:pt idx="2">
                  <c:v>2.8847294523286E-2</c:v>
                </c:pt>
                <c:pt idx="3">
                  <c:v>3.1941823955439499E-2</c:v>
                </c:pt>
                <c:pt idx="4">
                  <c:v>2.7457321825501101E-2</c:v>
                </c:pt>
                <c:pt idx="5">
                  <c:v>3.1963966829477303E-2</c:v>
                </c:pt>
                <c:pt idx="6">
                  <c:v>3.4298326746520502E-2</c:v>
                </c:pt>
                <c:pt idx="7">
                  <c:v>3.3330140104484103E-2</c:v>
                </c:pt>
                <c:pt idx="8">
                  <c:v>3.2570701437921602E-2</c:v>
                </c:pt>
                <c:pt idx="9">
                  <c:v>2.9013298065193701E-2</c:v>
                </c:pt>
                <c:pt idx="10">
                  <c:v>3.5699168862310199E-2</c:v>
                </c:pt>
                <c:pt idx="11">
                  <c:v>3.31209597373327E-2</c:v>
                </c:pt>
                <c:pt idx="12">
                  <c:v>3.2431231787215103E-2</c:v>
                </c:pt>
                <c:pt idx="13">
                  <c:v>3.47495466709856E-2</c:v>
                </c:pt>
                <c:pt idx="14">
                  <c:v>3.1014250264767701E-2</c:v>
                </c:pt>
                <c:pt idx="15">
                  <c:v>2.7461864195659699E-2</c:v>
                </c:pt>
                <c:pt idx="16">
                  <c:v>2.48382301479253E-2</c:v>
                </c:pt>
                <c:pt idx="17">
                  <c:v>2.73305095332982E-2</c:v>
                </c:pt>
                <c:pt idx="18">
                  <c:v>2.1307759919074E-2</c:v>
                </c:pt>
                <c:pt idx="19">
                  <c:v>2.2816502464259598E-2</c:v>
                </c:pt>
                <c:pt idx="20">
                  <c:v>8.3074618730044195E-2</c:v>
                </c:pt>
                <c:pt idx="21">
                  <c:v>0.166001657764281</c:v>
                </c:pt>
                <c:pt idx="22">
                  <c:v>6.1843530776046603E-2</c:v>
                </c:pt>
                <c:pt idx="23">
                  <c:v>0.17892514452529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ING ZHENG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2.9497376117252401E-2</c:v>
                </c:pt>
                <c:pt idx="1">
                  <c:v>2.96468439908056E-2</c:v>
                </c:pt>
                <c:pt idx="2">
                  <c:v>2.8509120302240201E-2</c:v>
                </c:pt>
                <c:pt idx="3">
                  <c:v>3.06492042347387E-2</c:v>
                </c:pt>
                <c:pt idx="4">
                  <c:v>2.5465099382089299E-2</c:v>
                </c:pt>
                <c:pt idx="5">
                  <c:v>2.7346533793704601E-2</c:v>
                </c:pt>
                <c:pt idx="6">
                  <c:v>2.3912742633500399E-2</c:v>
                </c:pt>
                <c:pt idx="7">
                  <c:v>2.58642858105801E-2</c:v>
                </c:pt>
                <c:pt idx="8">
                  <c:v>2.2497904381818201E-2</c:v>
                </c:pt>
                <c:pt idx="9">
                  <c:v>2.6781876224581301E-2</c:v>
                </c:pt>
                <c:pt idx="10">
                  <c:v>2.5178783758189702E-2</c:v>
                </c:pt>
                <c:pt idx="11">
                  <c:v>1.99567686979766E-2</c:v>
                </c:pt>
                <c:pt idx="12">
                  <c:v>2.1993576896894101E-2</c:v>
                </c:pt>
                <c:pt idx="13">
                  <c:v>2.2447953926714899E-2</c:v>
                </c:pt>
                <c:pt idx="14">
                  <c:v>2.03274665086784E-2</c:v>
                </c:pt>
                <c:pt idx="15">
                  <c:v>1.9951030263678698E-2</c:v>
                </c:pt>
                <c:pt idx="16">
                  <c:v>2.1184367601068298E-2</c:v>
                </c:pt>
                <c:pt idx="17">
                  <c:v>1.9900103776388799E-2</c:v>
                </c:pt>
                <c:pt idx="18">
                  <c:v>1.73745508002674E-2</c:v>
                </c:pt>
                <c:pt idx="19">
                  <c:v>1.2082117412984599E-2</c:v>
                </c:pt>
                <c:pt idx="20">
                  <c:v>1.3057458988929601E-2</c:v>
                </c:pt>
                <c:pt idx="21">
                  <c:v>2.0364709548097E-2</c:v>
                </c:pt>
                <c:pt idx="22">
                  <c:v>2.9990619955520399E-2</c:v>
                </c:pt>
                <c:pt idx="23">
                  <c:v>1.4575799330355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BEI SHUANG DING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2.9925774087807E-2</c:v>
                </c:pt>
                <c:pt idx="1">
                  <c:v>2.9108464291658899E-2</c:v>
                </c:pt>
                <c:pt idx="2">
                  <c:v>3.55349865010317E-2</c:v>
                </c:pt>
                <c:pt idx="3">
                  <c:v>2.8420483642880998E-2</c:v>
                </c:pt>
                <c:pt idx="4">
                  <c:v>3.5371190729759298E-2</c:v>
                </c:pt>
                <c:pt idx="5">
                  <c:v>3.7354009405988098E-2</c:v>
                </c:pt>
                <c:pt idx="6">
                  <c:v>3.4965591253909002E-2</c:v>
                </c:pt>
                <c:pt idx="7">
                  <c:v>3.28473337511241E-2</c:v>
                </c:pt>
                <c:pt idx="8">
                  <c:v>3.41015548597371E-2</c:v>
                </c:pt>
                <c:pt idx="9">
                  <c:v>3.5364017737685098E-2</c:v>
                </c:pt>
                <c:pt idx="10">
                  <c:v>3.2710279892451503E-2</c:v>
                </c:pt>
                <c:pt idx="11">
                  <c:v>4.4073265763602799E-2</c:v>
                </c:pt>
                <c:pt idx="12">
                  <c:v>3.7356843451288299E-2</c:v>
                </c:pt>
                <c:pt idx="13">
                  <c:v>3.0018031917696801E-2</c:v>
                </c:pt>
                <c:pt idx="14">
                  <c:v>4.1526618464434902E-2</c:v>
                </c:pt>
                <c:pt idx="15">
                  <c:v>3.4082018213288899E-2</c:v>
                </c:pt>
                <c:pt idx="16">
                  <c:v>4.1014154788042198E-2</c:v>
                </c:pt>
                <c:pt idx="17">
                  <c:v>3.8720939849575399E-2</c:v>
                </c:pt>
                <c:pt idx="18">
                  <c:v>3.55462066272434E-2</c:v>
                </c:pt>
                <c:pt idx="19">
                  <c:v>3.5620269923748997E-2</c:v>
                </c:pt>
                <c:pt idx="20">
                  <c:v>3.6296601573998603E-2</c:v>
                </c:pt>
                <c:pt idx="21">
                  <c:v>1.73291046819939E-2</c:v>
                </c:pt>
                <c:pt idx="22">
                  <c:v>2.3330388286435699E-2</c:v>
                </c:pt>
                <c:pt idx="23">
                  <c:v>1.398353827714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HEPTODIN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2.71369221245416E-2</c:v>
                </c:pt>
                <c:pt idx="1">
                  <c:v>2.5109732180139802E-2</c:v>
                </c:pt>
                <c:pt idx="2">
                  <c:v>2.4697133542850001E-2</c:v>
                </c:pt>
                <c:pt idx="3">
                  <c:v>2.4511765139122101E-2</c:v>
                </c:pt>
                <c:pt idx="4">
                  <c:v>2.4073848215293701E-2</c:v>
                </c:pt>
                <c:pt idx="5">
                  <c:v>2.38587707461668E-2</c:v>
                </c:pt>
                <c:pt idx="6">
                  <c:v>2.1054507357212399E-2</c:v>
                </c:pt>
                <c:pt idx="7">
                  <c:v>2.04746826251514E-2</c:v>
                </c:pt>
                <c:pt idx="8">
                  <c:v>2.2562374589364699E-2</c:v>
                </c:pt>
                <c:pt idx="9">
                  <c:v>2.1628511375666501E-2</c:v>
                </c:pt>
                <c:pt idx="10">
                  <c:v>1.7839498096419701E-2</c:v>
                </c:pt>
                <c:pt idx="11">
                  <c:v>1.7528146631451001E-2</c:v>
                </c:pt>
                <c:pt idx="12">
                  <c:v>1.9665428941398399E-2</c:v>
                </c:pt>
                <c:pt idx="13">
                  <c:v>1.8696521901197399E-2</c:v>
                </c:pt>
                <c:pt idx="14">
                  <c:v>1.75773186530719E-2</c:v>
                </c:pt>
                <c:pt idx="15">
                  <c:v>1.76996312439461E-2</c:v>
                </c:pt>
                <c:pt idx="16">
                  <c:v>1.6418519957355101E-2</c:v>
                </c:pt>
                <c:pt idx="17">
                  <c:v>1.7326829202497399E-2</c:v>
                </c:pt>
                <c:pt idx="18">
                  <c:v>1.7288187690345999E-2</c:v>
                </c:pt>
                <c:pt idx="19">
                  <c:v>1.7215012934387399E-2</c:v>
                </c:pt>
                <c:pt idx="20">
                  <c:v>1.9309440557971101E-2</c:v>
                </c:pt>
                <c:pt idx="21">
                  <c:v>2.15930376044902E-2</c:v>
                </c:pt>
                <c:pt idx="22">
                  <c:v>2.11275399914004E-2</c:v>
                </c:pt>
                <c:pt idx="23">
                  <c:v>2.5340896233622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0.142671574531301</c:v>
                </c:pt>
                <c:pt idx="1">
                  <c:v>0.13829951613900299</c:v>
                </c:pt>
                <c:pt idx="2">
                  <c:v>0.13793908032768701</c:v>
                </c:pt>
                <c:pt idx="3">
                  <c:v>0.13564674768936399</c:v>
                </c:pt>
                <c:pt idx="4">
                  <c:v>0.141514112782713</c:v>
                </c:pt>
                <c:pt idx="5">
                  <c:v>0.12925803150215101</c:v>
                </c:pt>
                <c:pt idx="6">
                  <c:v>0.137644250030028</c:v>
                </c:pt>
                <c:pt idx="7">
                  <c:v>0.13183453707513801</c:v>
                </c:pt>
                <c:pt idx="8">
                  <c:v>0.14417483055285299</c:v>
                </c:pt>
                <c:pt idx="9">
                  <c:v>0.12724630315993801</c:v>
                </c:pt>
                <c:pt idx="10">
                  <c:v>0.140361458873006</c:v>
                </c:pt>
                <c:pt idx="11">
                  <c:v>0.12431184505587201</c:v>
                </c:pt>
                <c:pt idx="12">
                  <c:v>0.13004267495708899</c:v>
                </c:pt>
                <c:pt idx="13">
                  <c:v>0.114845000030384</c:v>
                </c:pt>
                <c:pt idx="14">
                  <c:v>0.113668601675619</c:v>
                </c:pt>
                <c:pt idx="15">
                  <c:v>0.11357984106239399</c:v>
                </c:pt>
                <c:pt idx="16">
                  <c:v>0.118746810872477</c:v>
                </c:pt>
                <c:pt idx="17">
                  <c:v>0.111920782349384</c:v>
                </c:pt>
                <c:pt idx="18">
                  <c:v>0.11944187500435099</c:v>
                </c:pt>
                <c:pt idx="19">
                  <c:v>0.118497360429812</c:v>
                </c:pt>
                <c:pt idx="20">
                  <c:v>0.11076864924001401</c:v>
                </c:pt>
                <c:pt idx="21">
                  <c:v>0.10925776590399</c:v>
                </c:pt>
                <c:pt idx="22">
                  <c:v>0.125455194024406</c:v>
                </c:pt>
                <c:pt idx="23">
                  <c:v>0.1106445261297880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2745232"/>
        <c:axId val="522740920"/>
        <c:extLst/>
      </c:lineChart>
      <c:catAx>
        <c:axId val="5227452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740920"/>
        <c:crosses val="autoZero"/>
        <c:auto val="1"/>
        <c:lblAlgn val="ctr"/>
        <c:lblOffset val="100"/>
        <c:noMultiLvlLbl val="0"/>
      </c:catAx>
      <c:valAx>
        <c:axId val="5227409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olume Share (%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74523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其他_Value</c:v>
                </c:pt>
              </c:strCache>
            </c:strRef>
          </c:tx>
          <c:invertIfNegative val="0"/>
          <c:cat>
            <c:strRef>
              <c:f>Sheet1!$B$1:$P$1</c:f>
              <c:strCache>
                <c:ptCount val="15"/>
                <c:pt idx="0">
                  <c:v>19M01</c:v>
                </c:pt>
                <c:pt idx="1">
                  <c:v>19M02</c:v>
                </c:pt>
                <c:pt idx="2">
                  <c:v>19M03</c:v>
                </c:pt>
                <c:pt idx="3">
                  <c:v>19M04</c:v>
                </c:pt>
                <c:pt idx="4">
                  <c:v>19M05</c:v>
                </c:pt>
                <c:pt idx="5">
                  <c:v>19M06</c:v>
                </c:pt>
                <c:pt idx="6">
                  <c:v>19M07</c:v>
                </c:pt>
                <c:pt idx="7">
                  <c:v>19M08</c:v>
                </c:pt>
                <c:pt idx="8">
                  <c:v>19M09</c:v>
                </c:pt>
                <c:pt idx="9">
                  <c:v>19M10</c:v>
                </c:pt>
                <c:pt idx="10">
                  <c:v>19M11</c:v>
                </c:pt>
                <c:pt idx="11">
                  <c:v>19M12</c:v>
                </c:pt>
                <c:pt idx="12">
                  <c:v>20M01</c:v>
                </c:pt>
                <c:pt idx="13">
                  <c:v>20M02</c:v>
                </c:pt>
                <c:pt idx="14">
                  <c:v>20M03</c:v>
                </c:pt>
              </c:strCache>
            </c:strRef>
          </c:cat>
          <c:val>
            <c:numRef>
              <c:f>Sheet1!$B$2:$P$2</c:f>
              <c:numCache>
                <c:formatCode>0</c:formatCode>
                <c:ptCount val="15"/>
                <c:pt idx="0">
                  <c:v>137.65002937</c:v>
                </c:pt>
                <c:pt idx="1">
                  <c:v>62.504574140000003</c:v>
                </c:pt>
                <c:pt idx="2">
                  <c:v>106.61859773</c:v>
                </c:pt>
                <c:pt idx="3">
                  <c:v>110.30569007</c:v>
                </c:pt>
                <c:pt idx="4">
                  <c:v>98.841389469999996</c:v>
                </c:pt>
                <c:pt idx="5">
                  <c:v>96.811607719999998</c:v>
                </c:pt>
                <c:pt idx="6">
                  <c:v>104.23672130999999</c:v>
                </c:pt>
                <c:pt idx="7">
                  <c:v>103.46078703000001</c:v>
                </c:pt>
                <c:pt idx="8">
                  <c:v>118.28140089</c:v>
                </c:pt>
                <c:pt idx="9">
                  <c:v>82.490503329999996</c:v>
                </c:pt>
                <c:pt idx="10">
                  <c:v>80.394857060000007</c:v>
                </c:pt>
                <c:pt idx="11">
                  <c:v>56.6377071</c:v>
                </c:pt>
                <c:pt idx="12">
                  <c:v>47.242724039999999</c:v>
                </c:pt>
                <c:pt idx="13">
                  <c:v>16.827398089999999</c:v>
                </c:pt>
                <c:pt idx="14">
                  <c:v>23.947340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3C-4F62-9B82-6ACB3B7B174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华中大区_Value</c:v>
                </c:pt>
              </c:strCache>
            </c:strRef>
          </c:tx>
          <c:invertIfNegative val="0"/>
          <c:cat>
            <c:strRef>
              <c:f>Sheet1!$B$1:$P$1</c:f>
              <c:strCache>
                <c:ptCount val="15"/>
                <c:pt idx="0">
                  <c:v>19M01</c:v>
                </c:pt>
                <c:pt idx="1">
                  <c:v>19M02</c:v>
                </c:pt>
                <c:pt idx="2">
                  <c:v>19M03</c:v>
                </c:pt>
                <c:pt idx="3">
                  <c:v>19M04</c:v>
                </c:pt>
                <c:pt idx="4">
                  <c:v>19M05</c:v>
                </c:pt>
                <c:pt idx="5">
                  <c:v>19M06</c:v>
                </c:pt>
                <c:pt idx="6">
                  <c:v>19M07</c:v>
                </c:pt>
                <c:pt idx="7">
                  <c:v>19M08</c:v>
                </c:pt>
                <c:pt idx="8">
                  <c:v>19M09</c:v>
                </c:pt>
                <c:pt idx="9">
                  <c:v>19M10</c:v>
                </c:pt>
                <c:pt idx="10">
                  <c:v>19M11</c:v>
                </c:pt>
                <c:pt idx="11">
                  <c:v>19M12</c:v>
                </c:pt>
                <c:pt idx="12">
                  <c:v>20M01</c:v>
                </c:pt>
                <c:pt idx="13">
                  <c:v>20M02</c:v>
                </c:pt>
                <c:pt idx="14">
                  <c:v>20M03</c:v>
                </c:pt>
              </c:strCache>
            </c:strRef>
          </c:cat>
          <c:val>
            <c:numRef>
              <c:f>Sheet1!$B$3:$P$3</c:f>
              <c:numCache>
                <c:formatCode>0</c:formatCode>
                <c:ptCount val="15"/>
                <c:pt idx="0">
                  <c:v>179.37197065000001</c:v>
                </c:pt>
                <c:pt idx="1">
                  <c:v>81.265595250000004</c:v>
                </c:pt>
                <c:pt idx="2">
                  <c:v>130.69852366000001</c:v>
                </c:pt>
                <c:pt idx="3">
                  <c:v>135.74332353</c:v>
                </c:pt>
                <c:pt idx="4">
                  <c:v>116.47582963000001</c:v>
                </c:pt>
                <c:pt idx="5">
                  <c:v>123.4176171</c:v>
                </c:pt>
                <c:pt idx="6">
                  <c:v>124.55068403999999</c:v>
                </c:pt>
                <c:pt idx="7">
                  <c:v>130.31939831</c:v>
                </c:pt>
                <c:pt idx="8">
                  <c:v>148.99963994999999</c:v>
                </c:pt>
                <c:pt idx="9">
                  <c:v>104.73206374</c:v>
                </c:pt>
                <c:pt idx="10">
                  <c:v>86.707399679999995</c:v>
                </c:pt>
                <c:pt idx="11">
                  <c:v>68.105789610000002</c:v>
                </c:pt>
                <c:pt idx="12">
                  <c:v>70.815617579999994</c:v>
                </c:pt>
                <c:pt idx="13">
                  <c:v>30.528945669999999</c:v>
                </c:pt>
                <c:pt idx="14">
                  <c:v>34.81871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3C-4F62-9B82-6ACB3B7B1740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华南大区_Value</c:v>
                </c:pt>
              </c:strCache>
            </c:strRef>
          </c:tx>
          <c:invertIfNegative val="0"/>
          <c:cat>
            <c:strRef>
              <c:f>Sheet1!$B$1:$P$1</c:f>
              <c:strCache>
                <c:ptCount val="15"/>
                <c:pt idx="0">
                  <c:v>19M01</c:v>
                </c:pt>
                <c:pt idx="1">
                  <c:v>19M02</c:v>
                </c:pt>
                <c:pt idx="2">
                  <c:v>19M03</c:v>
                </c:pt>
                <c:pt idx="3">
                  <c:v>19M04</c:v>
                </c:pt>
                <c:pt idx="4">
                  <c:v>19M05</c:v>
                </c:pt>
                <c:pt idx="5">
                  <c:v>19M06</c:v>
                </c:pt>
                <c:pt idx="6">
                  <c:v>19M07</c:v>
                </c:pt>
                <c:pt idx="7">
                  <c:v>19M08</c:v>
                </c:pt>
                <c:pt idx="8">
                  <c:v>19M09</c:v>
                </c:pt>
                <c:pt idx="9">
                  <c:v>19M10</c:v>
                </c:pt>
                <c:pt idx="10">
                  <c:v>19M11</c:v>
                </c:pt>
                <c:pt idx="11">
                  <c:v>19M12</c:v>
                </c:pt>
                <c:pt idx="12">
                  <c:v>20M01</c:v>
                </c:pt>
                <c:pt idx="13">
                  <c:v>20M02</c:v>
                </c:pt>
                <c:pt idx="14">
                  <c:v>20M03</c:v>
                </c:pt>
              </c:strCache>
            </c:strRef>
          </c:cat>
          <c:val>
            <c:numRef>
              <c:f>Sheet1!$B$4:$P$4</c:f>
              <c:numCache>
                <c:formatCode>0</c:formatCode>
                <c:ptCount val="15"/>
                <c:pt idx="0">
                  <c:v>215.57254596999999</c:v>
                </c:pt>
                <c:pt idx="1">
                  <c:v>110.87237786999999</c:v>
                </c:pt>
                <c:pt idx="2">
                  <c:v>157.39298735</c:v>
                </c:pt>
                <c:pt idx="3">
                  <c:v>125.50838432</c:v>
                </c:pt>
                <c:pt idx="4">
                  <c:v>112.48213306</c:v>
                </c:pt>
                <c:pt idx="5">
                  <c:v>116.82519924</c:v>
                </c:pt>
                <c:pt idx="6">
                  <c:v>124.58704547000001</c:v>
                </c:pt>
                <c:pt idx="7">
                  <c:v>114.64185320999999</c:v>
                </c:pt>
                <c:pt idx="8">
                  <c:v>137.25245670999999</c:v>
                </c:pt>
                <c:pt idx="9">
                  <c:v>96.442675210000004</c:v>
                </c:pt>
                <c:pt idx="10">
                  <c:v>98.796654450000005</c:v>
                </c:pt>
                <c:pt idx="11">
                  <c:v>104.54203686</c:v>
                </c:pt>
                <c:pt idx="12">
                  <c:v>82.611249000000001</c:v>
                </c:pt>
                <c:pt idx="13">
                  <c:v>30.550007659999999</c:v>
                </c:pt>
                <c:pt idx="14">
                  <c:v>48.78488631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F3C-4F62-9B82-6ACB3B7B1740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华东大区_Value</c:v>
                </c:pt>
              </c:strCache>
            </c:strRef>
          </c:tx>
          <c:invertIfNegative val="0"/>
          <c:cat>
            <c:strRef>
              <c:f>Sheet1!$B$1:$P$1</c:f>
              <c:strCache>
                <c:ptCount val="15"/>
                <c:pt idx="0">
                  <c:v>19M01</c:v>
                </c:pt>
                <c:pt idx="1">
                  <c:v>19M02</c:v>
                </c:pt>
                <c:pt idx="2">
                  <c:v>19M03</c:v>
                </c:pt>
                <c:pt idx="3">
                  <c:v>19M04</c:v>
                </c:pt>
                <c:pt idx="4">
                  <c:v>19M05</c:v>
                </c:pt>
                <c:pt idx="5">
                  <c:v>19M06</c:v>
                </c:pt>
                <c:pt idx="6">
                  <c:v>19M07</c:v>
                </c:pt>
                <c:pt idx="7">
                  <c:v>19M08</c:v>
                </c:pt>
                <c:pt idx="8">
                  <c:v>19M09</c:v>
                </c:pt>
                <c:pt idx="9">
                  <c:v>19M10</c:v>
                </c:pt>
                <c:pt idx="10">
                  <c:v>19M11</c:v>
                </c:pt>
                <c:pt idx="11">
                  <c:v>19M12</c:v>
                </c:pt>
                <c:pt idx="12">
                  <c:v>20M01</c:v>
                </c:pt>
                <c:pt idx="13">
                  <c:v>20M02</c:v>
                </c:pt>
                <c:pt idx="14">
                  <c:v>20M03</c:v>
                </c:pt>
              </c:strCache>
            </c:strRef>
          </c:cat>
          <c:val>
            <c:numRef>
              <c:f>Sheet1!$B$5:$P$5</c:f>
              <c:numCache>
                <c:formatCode>0</c:formatCode>
                <c:ptCount val="15"/>
                <c:pt idx="0">
                  <c:v>162.10742157999999</c:v>
                </c:pt>
                <c:pt idx="1">
                  <c:v>78.307541569999998</c:v>
                </c:pt>
                <c:pt idx="2">
                  <c:v>104.2708019</c:v>
                </c:pt>
                <c:pt idx="3">
                  <c:v>107.2724145</c:v>
                </c:pt>
                <c:pt idx="4">
                  <c:v>94.558613679999993</c:v>
                </c:pt>
                <c:pt idx="5">
                  <c:v>80.982445339999998</c:v>
                </c:pt>
                <c:pt idx="6">
                  <c:v>95.784658469999997</c:v>
                </c:pt>
                <c:pt idx="7">
                  <c:v>88.877842439999995</c:v>
                </c:pt>
                <c:pt idx="8">
                  <c:v>97.380392659999998</c:v>
                </c:pt>
                <c:pt idx="9">
                  <c:v>75.437200180000005</c:v>
                </c:pt>
                <c:pt idx="10">
                  <c:v>72.060400759999993</c:v>
                </c:pt>
                <c:pt idx="11">
                  <c:v>64.961404909999999</c:v>
                </c:pt>
                <c:pt idx="12">
                  <c:v>69.721304079999996</c:v>
                </c:pt>
                <c:pt idx="13">
                  <c:v>46.696574529999999</c:v>
                </c:pt>
                <c:pt idx="14">
                  <c:v>43.87770685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3C-4F62-9B82-6ACB3B7B1740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华北大区_Value</c:v>
                </c:pt>
              </c:strCache>
            </c:strRef>
          </c:tx>
          <c:invertIfNegative val="0"/>
          <c:cat>
            <c:strRef>
              <c:f>Sheet1!$B$1:$P$1</c:f>
              <c:strCache>
                <c:ptCount val="15"/>
                <c:pt idx="0">
                  <c:v>19M01</c:v>
                </c:pt>
                <c:pt idx="1">
                  <c:v>19M02</c:v>
                </c:pt>
                <c:pt idx="2">
                  <c:v>19M03</c:v>
                </c:pt>
                <c:pt idx="3">
                  <c:v>19M04</c:v>
                </c:pt>
                <c:pt idx="4">
                  <c:v>19M05</c:v>
                </c:pt>
                <c:pt idx="5">
                  <c:v>19M06</c:v>
                </c:pt>
                <c:pt idx="6">
                  <c:v>19M07</c:v>
                </c:pt>
                <c:pt idx="7">
                  <c:v>19M08</c:v>
                </c:pt>
                <c:pt idx="8">
                  <c:v>19M09</c:v>
                </c:pt>
                <c:pt idx="9">
                  <c:v>19M10</c:v>
                </c:pt>
                <c:pt idx="10">
                  <c:v>19M11</c:v>
                </c:pt>
                <c:pt idx="11">
                  <c:v>19M12</c:v>
                </c:pt>
                <c:pt idx="12">
                  <c:v>20M01</c:v>
                </c:pt>
                <c:pt idx="13">
                  <c:v>20M02</c:v>
                </c:pt>
                <c:pt idx="14">
                  <c:v>20M03</c:v>
                </c:pt>
              </c:strCache>
            </c:strRef>
          </c:cat>
          <c:val>
            <c:numRef>
              <c:f>Sheet1!$B$6:$P$6</c:f>
              <c:numCache>
                <c:formatCode>0</c:formatCode>
                <c:ptCount val="15"/>
                <c:pt idx="0">
                  <c:v>178.69743081999999</c:v>
                </c:pt>
                <c:pt idx="1">
                  <c:v>80.891358280000006</c:v>
                </c:pt>
                <c:pt idx="2">
                  <c:v>115.92653313</c:v>
                </c:pt>
                <c:pt idx="3">
                  <c:v>113.06428443</c:v>
                </c:pt>
                <c:pt idx="4">
                  <c:v>97.788243019999996</c:v>
                </c:pt>
                <c:pt idx="5">
                  <c:v>88.049454920000002</c:v>
                </c:pt>
                <c:pt idx="6">
                  <c:v>96.410021689999994</c:v>
                </c:pt>
                <c:pt idx="7">
                  <c:v>88.785292369999993</c:v>
                </c:pt>
                <c:pt idx="8">
                  <c:v>107.55137086000001</c:v>
                </c:pt>
                <c:pt idx="9">
                  <c:v>71.65963069</c:v>
                </c:pt>
                <c:pt idx="10">
                  <c:v>77.142007000000007</c:v>
                </c:pt>
                <c:pt idx="11">
                  <c:v>67.846919159999999</c:v>
                </c:pt>
                <c:pt idx="12">
                  <c:v>64.584634210000004</c:v>
                </c:pt>
                <c:pt idx="13">
                  <c:v>31.717487340000002</c:v>
                </c:pt>
                <c:pt idx="14">
                  <c:v>32.89705439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F3C-4F62-9B82-6ACB3B7B1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22747976"/>
        <c:axId val="522737784"/>
      </c:barChart>
      <c:lineChart>
        <c:grouping val="standard"/>
        <c:varyColors val="0"/>
        <c:ser>
          <c:idx val="5"/>
          <c:order val="5"/>
          <c:tx>
            <c:strRef>
              <c:f>Sheet1!$A$7</c:f>
              <c:strCache>
                <c:ptCount val="1"/>
                <c:pt idx="0">
                  <c:v>其他_EI</c:v>
                </c:pt>
              </c:strCache>
            </c:strRef>
          </c:tx>
          <c:marker>
            <c:symbol val="none"/>
          </c:marker>
          <c:cat>
            <c:strRef>
              <c:f>Sheet1!$B$1:$P$1</c:f>
              <c:strCache>
                <c:ptCount val="15"/>
                <c:pt idx="0">
                  <c:v>19M01</c:v>
                </c:pt>
                <c:pt idx="1">
                  <c:v>19M02</c:v>
                </c:pt>
                <c:pt idx="2">
                  <c:v>19M03</c:v>
                </c:pt>
                <c:pt idx="3">
                  <c:v>19M04</c:v>
                </c:pt>
                <c:pt idx="4">
                  <c:v>19M05</c:v>
                </c:pt>
                <c:pt idx="5">
                  <c:v>19M06</c:v>
                </c:pt>
                <c:pt idx="6">
                  <c:v>19M07</c:v>
                </c:pt>
                <c:pt idx="7">
                  <c:v>19M08</c:v>
                </c:pt>
                <c:pt idx="8">
                  <c:v>19M09</c:v>
                </c:pt>
                <c:pt idx="9">
                  <c:v>19M10</c:v>
                </c:pt>
                <c:pt idx="10">
                  <c:v>19M11</c:v>
                </c:pt>
                <c:pt idx="11">
                  <c:v>19M12</c:v>
                </c:pt>
                <c:pt idx="12">
                  <c:v>20M01</c:v>
                </c:pt>
                <c:pt idx="13">
                  <c:v>20M02</c:v>
                </c:pt>
                <c:pt idx="14">
                  <c:v>20M03</c:v>
                </c:pt>
              </c:strCache>
            </c:strRef>
          </c:cat>
          <c:val>
            <c:numRef>
              <c:f>Sheet1!$B$7:$P$7</c:f>
              <c:numCache>
                <c:formatCode>0</c:formatCode>
                <c:ptCount val="15"/>
                <c:pt idx="0">
                  <c:v>99.413445703024195</c:v>
                </c:pt>
                <c:pt idx="1">
                  <c:v>114.082699638097</c:v>
                </c:pt>
                <c:pt idx="2">
                  <c:v>115.797712236872</c:v>
                </c:pt>
                <c:pt idx="3">
                  <c:v>127.22357080880801</c:v>
                </c:pt>
                <c:pt idx="4">
                  <c:v>124.380630334701</c:v>
                </c:pt>
                <c:pt idx="5">
                  <c:v>119.233797108459</c:v>
                </c:pt>
                <c:pt idx="6">
                  <c:v>127.148563692422</c:v>
                </c:pt>
                <c:pt idx="7">
                  <c:v>120.624738689924</c:v>
                </c:pt>
                <c:pt idx="8">
                  <c:v>119.445501481135</c:v>
                </c:pt>
                <c:pt idx="9">
                  <c:v>120.071686244962</c:v>
                </c:pt>
                <c:pt idx="10">
                  <c:v>119.75185205604301</c:v>
                </c:pt>
                <c:pt idx="11">
                  <c:v>87.982557627009001</c:v>
                </c:pt>
                <c:pt idx="12">
                  <c:v>89.486687003593303</c:v>
                </c:pt>
                <c:pt idx="13">
                  <c:v>71.272740470357803</c:v>
                </c:pt>
                <c:pt idx="14">
                  <c:v>74.92869681755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F3C-4F62-9B82-6ACB3B7B1740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华中大区_EI</c:v>
                </c:pt>
              </c:strCache>
            </c:strRef>
          </c:tx>
          <c:marker>
            <c:symbol val="none"/>
          </c:marker>
          <c:cat>
            <c:strRef>
              <c:f>Sheet1!$B$1:$P$1</c:f>
              <c:strCache>
                <c:ptCount val="15"/>
                <c:pt idx="0">
                  <c:v>19M01</c:v>
                </c:pt>
                <c:pt idx="1">
                  <c:v>19M02</c:v>
                </c:pt>
                <c:pt idx="2">
                  <c:v>19M03</c:v>
                </c:pt>
                <c:pt idx="3">
                  <c:v>19M04</c:v>
                </c:pt>
                <c:pt idx="4">
                  <c:v>19M05</c:v>
                </c:pt>
                <c:pt idx="5">
                  <c:v>19M06</c:v>
                </c:pt>
                <c:pt idx="6">
                  <c:v>19M07</c:v>
                </c:pt>
                <c:pt idx="7">
                  <c:v>19M08</c:v>
                </c:pt>
                <c:pt idx="8">
                  <c:v>19M09</c:v>
                </c:pt>
                <c:pt idx="9">
                  <c:v>19M10</c:v>
                </c:pt>
                <c:pt idx="10">
                  <c:v>19M11</c:v>
                </c:pt>
                <c:pt idx="11">
                  <c:v>19M12</c:v>
                </c:pt>
                <c:pt idx="12">
                  <c:v>20M01</c:v>
                </c:pt>
                <c:pt idx="13">
                  <c:v>20M02</c:v>
                </c:pt>
                <c:pt idx="14">
                  <c:v>20M03</c:v>
                </c:pt>
              </c:strCache>
            </c:strRef>
          </c:cat>
          <c:val>
            <c:numRef>
              <c:f>Sheet1!$B$8:$P$8</c:f>
              <c:numCache>
                <c:formatCode>0</c:formatCode>
                <c:ptCount val="15"/>
                <c:pt idx="0">
                  <c:v>99.139943865644895</c:v>
                </c:pt>
                <c:pt idx="1">
                  <c:v>93.065264887818103</c:v>
                </c:pt>
                <c:pt idx="2">
                  <c:v>96.665790628367503</c:v>
                </c:pt>
                <c:pt idx="3">
                  <c:v>111.387211831692</c:v>
                </c:pt>
                <c:pt idx="4">
                  <c:v>108.521201662518</c:v>
                </c:pt>
                <c:pt idx="5">
                  <c:v>119.724459996589</c:v>
                </c:pt>
                <c:pt idx="6">
                  <c:v>116.62516182407801</c:v>
                </c:pt>
                <c:pt idx="7">
                  <c:v>126.228865683379</c:v>
                </c:pt>
                <c:pt idx="8">
                  <c:v>115.646007246124</c:v>
                </c:pt>
                <c:pt idx="9">
                  <c:v>125.239396749105</c:v>
                </c:pt>
                <c:pt idx="10">
                  <c:v>104.352236043196</c:v>
                </c:pt>
                <c:pt idx="11">
                  <c:v>102.084798794533</c:v>
                </c:pt>
                <c:pt idx="12">
                  <c:v>102.937655931248</c:v>
                </c:pt>
                <c:pt idx="13">
                  <c:v>99.454256411145593</c:v>
                </c:pt>
                <c:pt idx="14">
                  <c:v>88.872195142941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F3C-4F62-9B82-6ACB3B7B1740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华南大区_EI</c:v>
                </c:pt>
              </c:strCache>
            </c:strRef>
          </c:tx>
          <c:marker>
            <c:symbol val="none"/>
          </c:marker>
          <c:cat>
            <c:strRef>
              <c:f>Sheet1!$B$1:$P$1</c:f>
              <c:strCache>
                <c:ptCount val="15"/>
                <c:pt idx="0">
                  <c:v>19M01</c:v>
                </c:pt>
                <c:pt idx="1">
                  <c:v>19M02</c:v>
                </c:pt>
                <c:pt idx="2">
                  <c:v>19M03</c:v>
                </c:pt>
                <c:pt idx="3">
                  <c:v>19M04</c:v>
                </c:pt>
                <c:pt idx="4">
                  <c:v>19M05</c:v>
                </c:pt>
                <c:pt idx="5">
                  <c:v>19M06</c:v>
                </c:pt>
                <c:pt idx="6">
                  <c:v>19M07</c:v>
                </c:pt>
                <c:pt idx="7">
                  <c:v>19M08</c:v>
                </c:pt>
                <c:pt idx="8">
                  <c:v>19M09</c:v>
                </c:pt>
                <c:pt idx="9">
                  <c:v>19M10</c:v>
                </c:pt>
                <c:pt idx="10">
                  <c:v>19M11</c:v>
                </c:pt>
                <c:pt idx="11">
                  <c:v>19M12</c:v>
                </c:pt>
                <c:pt idx="12">
                  <c:v>20M01</c:v>
                </c:pt>
                <c:pt idx="13">
                  <c:v>20M02</c:v>
                </c:pt>
                <c:pt idx="14">
                  <c:v>20M03</c:v>
                </c:pt>
              </c:strCache>
            </c:strRef>
          </c:cat>
          <c:val>
            <c:numRef>
              <c:f>Sheet1!$B$9:$P$9</c:f>
              <c:numCache>
                <c:formatCode>0</c:formatCode>
                <c:ptCount val="15"/>
                <c:pt idx="0">
                  <c:v>104.323012041871</c:v>
                </c:pt>
                <c:pt idx="1">
                  <c:v>105.04097187039901</c:v>
                </c:pt>
                <c:pt idx="2">
                  <c:v>100.549581280034</c:v>
                </c:pt>
                <c:pt idx="3">
                  <c:v>82.780571501172602</c:v>
                </c:pt>
                <c:pt idx="4">
                  <c:v>90.846281368836699</c:v>
                </c:pt>
                <c:pt idx="5">
                  <c:v>95.034891792755502</c:v>
                </c:pt>
                <c:pt idx="6">
                  <c:v>87.0720529699596</c:v>
                </c:pt>
                <c:pt idx="7">
                  <c:v>89.640961466087802</c:v>
                </c:pt>
                <c:pt idx="8">
                  <c:v>91.456315516955797</c:v>
                </c:pt>
                <c:pt idx="9">
                  <c:v>90.102221193687797</c:v>
                </c:pt>
                <c:pt idx="10">
                  <c:v>93.570392670207497</c:v>
                </c:pt>
                <c:pt idx="11">
                  <c:v>113.17143740799099</c:v>
                </c:pt>
                <c:pt idx="12">
                  <c:v>99.918416865168695</c:v>
                </c:pt>
                <c:pt idx="13">
                  <c:v>72.946800976368294</c:v>
                </c:pt>
                <c:pt idx="14">
                  <c:v>103.400769240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4F3C-4F62-9B82-6ACB3B7B1740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华东大区_EI</c:v>
                </c:pt>
              </c:strCache>
            </c:strRef>
          </c:tx>
          <c:marker>
            <c:symbol val="none"/>
          </c:marker>
          <c:cat>
            <c:strRef>
              <c:f>Sheet1!$B$1:$P$1</c:f>
              <c:strCache>
                <c:ptCount val="15"/>
                <c:pt idx="0">
                  <c:v>19M01</c:v>
                </c:pt>
                <c:pt idx="1">
                  <c:v>19M02</c:v>
                </c:pt>
                <c:pt idx="2">
                  <c:v>19M03</c:v>
                </c:pt>
                <c:pt idx="3">
                  <c:v>19M04</c:v>
                </c:pt>
                <c:pt idx="4">
                  <c:v>19M05</c:v>
                </c:pt>
                <c:pt idx="5">
                  <c:v>19M06</c:v>
                </c:pt>
                <c:pt idx="6">
                  <c:v>19M07</c:v>
                </c:pt>
                <c:pt idx="7">
                  <c:v>19M08</c:v>
                </c:pt>
                <c:pt idx="8">
                  <c:v>19M09</c:v>
                </c:pt>
                <c:pt idx="9">
                  <c:v>19M10</c:v>
                </c:pt>
                <c:pt idx="10">
                  <c:v>19M11</c:v>
                </c:pt>
                <c:pt idx="11">
                  <c:v>19M12</c:v>
                </c:pt>
                <c:pt idx="12">
                  <c:v>20M01</c:v>
                </c:pt>
                <c:pt idx="13">
                  <c:v>20M02</c:v>
                </c:pt>
                <c:pt idx="14">
                  <c:v>20M03</c:v>
                </c:pt>
              </c:strCache>
            </c:strRef>
          </c:cat>
          <c:val>
            <c:numRef>
              <c:f>Sheet1!$B$10:$P$10</c:f>
              <c:numCache>
                <c:formatCode>0</c:formatCode>
                <c:ptCount val="15"/>
                <c:pt idx="0">
                  <c:v>90.765870413058295</c:v>
                </c:pt>
                <c:pt idx="1">
                  <c:v>91.3105124586383</c:v>
                </c:pt>
                <c:pt idx="2">
                  <c:v>89.242442610532606</c:v>
                </c:pt>
                <c:pt idx="3">
                  <c:v>91.735958051617999</c:v>
                </c:pt>
                <c:pt idx="4">
                  <c:v>92.876232060994298</c:v>
                </c:pt>
                <c:pt idx="5">
                  <c:v>79.766483598862607</c:v>
                </c:pt>
                <c:pt idx="6">
                  <c:v>88.344738227434505</c:v>
                </c:pt>
                <c:pt idx="7">
                  <c:v>82.698144710746107</c:v>
                </c:pt>
                <c:pt idx="8">
                  <c:v>90.109139613306894</c:v>
                </c:pt>
                <c:pt idx="9">
                  <c:v>87.313961365863705</c:v>
                </c:pt>
                <c:pt idx="10">
                  <c:v>92.109131683851103</c:v>
                </c:pt>
                <c:pt idx="11">
                  <c:v>94.787144669287599</c:v>
                </c:pt>
                <c:pt idx="12">
                  <c:v>112.140479933099</c:v>
                </c:pt>
                <c:pt idx="13">
                  <c:v>157.870041598829</c:v>
                </c:pt>
                <c:pt idx="14">
                  <c:v>140.3799422907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4F3C-4F62-9B82-6ACB3B7B1740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华北大区_EI</c:v>
                </c:pt>
              </c:strCache>
            </c:strRef>
          </c:tx>
          <c:marker>
            <c:symbol val="none"/>
          </c:marker>
          <c:cat>
            <c:strRef>
              <c:f>Sheet1!$B$1:$P$1</c:f>
              <c:strCache>
                <c:ptCount val="15"/>
                <c:pt idx="0">
                  <c:v>19M01</c:v>
                </c:pt>
                <c:pt idx="1">
                  <c:v>19M02</c:v>
                </c:pt>
                <c:pt idx="2">
                  <c:v>19M03</c:v>
                </c:pt>
                <c:pt idx="3">
                  <c:v>19M04</c:v>
                </c:pt>
                <c:pt idx="4">
                  <c:v>19M05</c:v>
                </c:pt>
                <c:pt idx="5">
                  <c:v>19M06</c:v>
                </c:pt>
                <c:pt idx="6">
                  <c:v>19M07</c:v>
                </c:pt>
                <c:pt idx="7">
                  <c:v>19M08</c:v>
                </c:pt>
                <c:pt idx="8">
                  <c:v>19M09</c:v>
                </c:pt>
                <c:pt idx="9">
                  <c:v>19M10</c:v>
                </c:pt>
                <c:pt idx="10">
                  <c:v>19M11</c:v>
                </c:pt>
                <c:pt idx="11">
                  <c:v>19M12</c:v>
                </c:pt>
                <c:pt idx="12">
                  <c:v>20M01</c:v>
                </c:pt>
                <c:pt idx="13">
                  <c:v>20M02</c:v>
                </c:pt>
                <c:pt idx="14">
                  <c:v>20M03</c:v>
                </c:pt>
              </c:strCache>
            </c:strRef>
          </c:cat>
          <c:val>
            <c:numRef>
              <c:f>Sheet1!$B$11:$P$11</c:f>
              <c:numCache>
                <c:formatCode>0</c:formatCode>
                <c:ptCount val="15"/>
                <c:pt idx="0">
                  <c:v>105.882143273927</c:v>
                </c:pt>
                <c:pt idx="1">
                  <c:v>100.58565542481</c:v>
                </c:pt>
                <c:pt idx="2">
                  <c:v>101.46292639569801</c:v>
                </c:pt>
                <c:pt idx="3">
                  <c:v>98.5104674005524</c:v>
                </c:pt>
                <c:pt idx="4">
                  <c:v>90.778334779513898</c:v>
                </c:pt>
                <c:pt idx="5">
                  <c:v>90.4428496613086</c:v>
                </c:pt>
                <c:pt idx="6">
                  <c:v>91.5690517504311</c:v>
                </c:pt>
                <c:pt idx="7">
                  <c:v>87.291565691004394</c:v>
                </c:pt>
                <c:pt idx="8">
                  <c:v>87.117884689455593</c:v>
                </c:pt>
                <c:pt idx="9">
                  <c:v>84.304515441451599</c:v>
                </c:pt>
                <c:pt idx="10">
                  <c:v>95.170547212980793</c:v>
                </c:pt>
                <c:pt idx="11">
                  <c:v>96.791100932000901</c:v>
                </c:pt>
                <c:pt idx="12">
                  <c:v>94.234667501175693</c:v>
                </c:pt>
                <c:pt idx="13">
                  <c:v>103.804202622349</c:v>
                </c:pt>
                <c:pt idx="14">
                  <c:v>94.6668694234231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4F3C-4F62-9B82-6ACB3B7B1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2893296"/>
        <c:axId val="685277376"/>
      </c:lineChart>
      <c:catAx>
        <c:axId val="522747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37784"/>
        <c:crosses val="autoZero"/>
        <c:auto val="1"/>
        <c:lblAlgn val="ctr"/>
        <c:lblOffset val="100"/>
        <c:noMultiLvlLbl val="0"/>
      </c:catAx>
      <c:valAx>
        <c:axId val="522737784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7976"/>
        <c:crosses val="autoZero"/>
        <c:crossBetween val="between"/>
      </c:valAx>
      <c:valAx>
        <c:axId val="685277376"/>
        <c:scaling>
          <c:orientation val="minMax"/>
        </c:scaling>
        <c:delete val="0"/>
        <c:axPos val="r"/>
        <c:numFmt formatCode="General" sourceLinked="0"/>
        <c:majorTickMark val="out"/>
        <c:minorTickMark val="none"/>
        <c:tickLblPos val="nextTo"/>
        <c:crossAx val="442893296"/>
        <c:crosses val="max"/>
        <c:crossBetween val="between"/>
      </c:valAx>
      <c:catAx>
        <c:axId val="4428932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85277376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19M0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32</c:f>
              <c:strCache>
                <c:ptCount val="10"/>
                <c:pt idx="0">
                  <c:v>其他_Value</c:v>
                </c:pt>
                <c:pt idx="1">
                  <c:v>华中大区_Value</c:v>
                </c:pt>
                <c:pt idx="2">
                  <c:v>华南大区_Value</c:v>
                </c:pt>
                <c:pt idx="3">
                  <c:v>华东大区_Value</c:v>
                </c:pt>
                <c:pt idx="4">
                  <c:v>华北大区_Value</c:v>
                </c:pt>
                <c:pt idx="5">
                  <c:v>其他_EI</c:v>
                </c:pt>
                <c:pt idx="6">
                  <c:v>华中大区_EI</c:v>
                </c:pt>
                <c:pt idx="7">
                  <c:v>华南大区_EI</c:v>
                </c:pt>
                <c:pt idx="8">
                  <c:v>华东大区_EI</c:v>
                </c:pt>
                <c:pt idx="9">
                  <c:v>华北大区_EI</c:v>
                </c:pt>
              </c:strCache>
            </c:strRef>
          </c:cat>
          <c:val>
            <c:numRef>
              <c:f>Sheet1!$E$2:$E$32</c:f>
              <c:numCache>
                <c:formatCode>0.0%</c:formatCode>
                <c:ptCount val="31"/>
                <c:pt idx="0">
                  <c:v>0.94526154523809502</c:v>
                </c:pt>
                <c:pt idx="1">
                  <c:v>1.18003659047619</c:v>
                </c:pt>
                <c:pt idx="2">
                  <c:v>1.2012721595238101</c:v>
                </c:pt>
                <c:pt idx="3">
                  <c:v>1.1053209761904801</c:v>
                </c:pt>
                <c:pt idx="4">
                  <c:v>1.03074428809524</c:v>
                </c:pt>
                <c:pt idx="5">
                  <c:v>115.212233866212</c:v>
                </c:pt>
                <c:pt idx="6">
                  <c:v>102.609092713397</c:v>
                </c:pt>
                <c:pt idx="7">
                  <c:v>83.741062666580703</c:v>
                </c:pt>
                <c:pt idx="8">
                  <c:v>97.945829623400002</c:v>
                </c:pt>
                <c:pt idx="9">
                  <c:v>110.93510077185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78-402F-92A6-308A76459F3E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19M03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10"/>
                <c:pt idx="0">
                  <c:v>其他_Value</c:v>
                </c:pt>
                <c:pt idx="1">
                  <c:v>华中大区_Value</c:v>
                </c:pt>
                <c:pt idx="2">
                  <c:v>华南大区_Value</c:v>
                </c:pt>
                <c:pt idx="3">
                  <c:v>华东大区_Value</c:v>
                </c:pt>
                <c:pt idx="4">
                  <c:v>华北大区_Value</c:v>
                </c:pt>
                <c:pt idx="5">
                  <c:v>其他_EI</c:v>
                </c:pt>
                <c:pt idx="6">
                  <c:v>华中大区_EI</c:v>
                </c:pt>
                <c:pt idx="7">
                  <c:v>华南大区_EI</c:v>
                </c:pt>
                <c:pt idx="8">
                  <c:v>华东大区_EI</c:v>
                </c:pt>
                <c:pt idx="9">
                  <c:v>华北大区_EI</c:v>
                </c:pt>
              </c:strCache>
            </c:strRef>
          </c:cat>
          <c:val>
            <c:numRef>
              <c:f>Sheet1!$D$2:$D$32</c:f>
              <c:numCache>
                <c:formatCode>0.0%</c:formatCode>
                <c:ptCount val="31"/>
                <c:pt idx="0">
                  <c:v>0.91430620238095195</c:v>
                </c:pt>
                <c:pt idx="1">
                  <c:v>1.11669639047619</c:v>
                </c:pt>
                <c:pt idx="2">
                  <c:v>1.3748657952381</c:v>
                </c:pt>
                <c:pt idx="3">
                  <c:v>1.0371838452380999</c:v>
                </c:pt>
                <c:pt idx="4">
                  <c:v>0.97059567142857095</c:v>
                </c:pt>
                <c:pt idx="5">
                  <c:v>111.17802064987799</c:v>
                </c:pt>
                <c:pt idx="6">
                  <c:v>91.975623701260304</c:v>
                </c:pt>
                <c:pt idx="7">
                  <c:v>98.247741458422297</c:v>
                </c:pt>
                <c:pt idx="8">
                  <c:v>98.590394801312698</c:v>
                </c:pt>
                <c:pt idx="9">
                  <c:v>104.8447414334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78-402F-92A6-308A76459F3E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19M02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10"/>
                <c:pt idx="0">
                  <c:v>其他_Value</c:v>
                </c:pt>
                <c:pt idx="1">
                  <c:v>华中大区_Value</c:v>
                </c:pt>
                <c:pt idx="2">
                  <c:v>华南大区_Value</c:v>
                </c:pt>
                <c:pt idx="3">
                  <c:v>华东大区_Value</c:v>
                </c:pt>
                <c:pt idx="4">
                  <c:v>华北大区_Value</c:v>
                </c:pt>
                <c:pt idx="5">
                  <c:v>其他_EI</c:v>
                </c:pt>
                <c:pt idx="6">
                  <c:v>华中大区_EI</c:v>
                </c:pt>
                <c:pt idx="7">
                  <c:v>华南大区_EI</c:v>
                </c:pt>
                <c:pt idx="8">
                  <c:v>华东大区_EI</c:v>
                </c:pt>
                <c:pt idx="9">
                  <c:v>华北大区_EI</c:v>
                </c:pt>
              </c:strCache>
            </c:strRef>
          </c:cat>
          <c:val>
            <c:numRef>
              <c:f>Sheet1!$C$2:$C$32</c:f>
              <c:numCache>
                <c:formatCode>0.0%</c:formatCode>
                <c:ptCount val="31"/>
                <c:pt idx="0">
                  <c:v>0.530074385714286</c:v>
                </c:pt>
                <c:pt idx="1">
                  <c:v>0.71413839285714298</c:v>
                </c:pt>
                <c:pt idx="2">
                  <c:v>0.89070086666666703</c:v>
                </c:pt>
                <c:pt idx="3">
                  <c:v>0.67877003809523795</c:v>
                </c:pt>
                <c:pt idx="4">
                  <c:v>0.56075462142857202</c:v>
                </c:pt>
                <c:pt idx="5">
                  <c:v>112.193398558192</c:v>
                </c:pt>
                <c:pt idx="6">
                  <c:v>95.810269999196805</c:v>
                </c:pt>
                <c:pt idx="7">
                  <c:v>105.145939759442</c:v>
                </c:pt>
                <c:pt idx="8">
                  <c:v>94.466389142527206</c:v>
                </c:pt>
                <c:pt idx="9">
                  <c:v>94.887749267517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78-402F-92A6-308A76459F3E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19M01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10"/>
                <c:pt idx="0">
                  <c:v>其他_Value</c:v>
                </c:pt>
                <c:pt idx="1">
                  <c:v>华中大区_Value</c:v>
                </c:pt>
                <c:pt idx="2">
                  <c:v>华南大区_Value</c:v>
                </c:pt>
                <c:pt idx="3">
                  <c:v>华东大区_Value</c:v>
                </c:pt>
                <c:pt idx="4">
                  <c:v>华北大区_Value</c:v>
                </c:pt>
                <c:pt idx="5">
                  <c:v>其他_EI</c:v>
                </c:pt>
                <c:pt idx="6">
                  <c:v>华中大区_EI</c:v>
                </c:pt>
                <c:pt idx="7">
                  <c:v>华南大区_EI</c:v>
                </c:pt>
                <c:pt idx="8">
                  <c:v>华东大区_EI</c:v>
                </c:pt>
                <c:pt idx="9">
                  <c:v>华北大区_EI</c:v>
                </c:pt>
              </c:strCache>
            </c:strRef>
          </c:cat>
          <c:val>
            <c:numRef>
              <c:f>Sheet1!$B$2:$B$32</c:f>
              <c:numCache>
                <c:formatCode>0.0%</c:formatCode>
                <c:ptCount val="31"/>
                <c:pt idx="0">
                  <c:v>1.2178323357142899</c:v>
                </c:pt>
                <c:pt idx="1">
                  <c:v>1.52933026190476</c:v>
                </c:pt>
                <c:pt idx="2">
                  <c:v>1.8719917571428599</c:v>
                </c:pt>
                <c:pt idx="3">
                  <c:v>1.49520837619048</c:v>
                </c:pt>
                <c:pt idx="4">
                  <c:v>1.2795349452381</c:v>
                </c:pt>
                <c:pt idx="5">
                  <c:v>99.993135190293202</c:v>
                </c:pt>
                <c:pt idx="6">
                  <c:v>96.374692606632294</c:v>
                </c:pt>
                <c:pt idx="7">
                  <c:v>106.332765950965</c:v>
                </c:pt>
                <c:pt idx="8">
                  <c:v>102.162627012765</c:v>
                </c:pt>
                <c:pt idx="9">
                  <c:v>93.734521089738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78-402F-92A6-308A76459F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22740528"/>
        <c:axId val="522741312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19M05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32</c:f>
              <c:strCache>
                <c:ptCount val="10"/>
                <c:pt idx="0">
                  <c:v>其他_Value</c:v>
                </c:pt>
                <c:pt idx="1">
                  <c:v>华中大区_Value</c:v>
                </c:pt>
                <c:pt idx="2">
                  <c:v>华南大区_Value</c:v>
                </c:pt>
                <c:pt idx="3">
                  <c:v>华东大区_Value</c:v>
                </c:pt>
                <c:pt idx="4">
                  <c:v>华北大区_Value</c:v>
                </c:pt>
                <c:pt idx="5">
                  <c:v>其他_EI</c:v>
                </c:pt>
                <c:pt idx="6">
                  <c:v>华中大区_EI</c:v>
                </c:pt>
                <c:pt idx="7">
                  <c:v>华南大区_EI</c:v>
                </c:pt>
                <c:pt idx="8">
                  <c:v>华东大区_EI</c:v>
                </c:pt>
                <c:pt idx="9">
                  <c:v>华北大区_EI</c:v>
                </c:pt>
              </c:strCache>
            </c:strRef>
          </c:cat>
          <c:val>
            <c:numRef>
              <c:f>Sheet1!$F$2:$F$32</c:f>
              <c:numCache>
                <c:formatCode>0</c:formatCode>
                <c:ptCount val="31"/>
                <c:pt idx="0">
                  <c:v>0.82605632857142797</c:v>
                </c:pt>
                <c:pt idx="1">
                  <c:v>0.97629388809523798</c:v>
                </c:pt>
                <c:pt idx="2">
                  <c:v>1.1280612000000001</c:v>
                </c:pt>
                <c:pt idx="3">
                  <c:v>0.99028791428571405</c:v>
                </c:pt>
                <c:pt idx="4">
                  <c:v>0.81896373333333305</c:v>
                </c:pt>
                <c:pt idx="5">
                  <c:v>108.642824122897</c:v>
                </c:pt>
                <c:pt idx="6">
                  <c:v>91.718544599491906</c:v>
                </c:pt>
                <c:pt idx="7">
                  <c:v>101.212996712226</c:v>
                </c:pt>
                <c:pt idx="8">
                  <c:v>103.30181394117599</c:v>
                </c:pt>
                <c:pt idx="9">
                  <c:v>97.298902251480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78-402F-92A6-308A76459F3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9M06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10"/>
                <c:pt idx="0">
                  <c:v>其他_Value</c:v>
                </c:pt>
                <c:pt idx="1">
                  <c:v>华中大区_Value</c:v>
                </c:pt>
                <c:pt idx="2">
                  <c:v>华南大区_Value</c:v>
                </c:pt>
                <c:pt idx="3">
                  <c:v>华东大区_Value</c:v>
                </c:pt>
                <c:pt idx="4">
                  <c:v>华北大区_Value</c:v>
                </c:pt>
                <c:pt idx="5">
                  <c:v>其他_EI</c:v>
                </c:pt>
                <c:pt idx="6">
                  <c:v>华中大区_EI</c:v>
                </c:pt>
                <c:pt idx="7">
                  <c:v>华南大区_EI</c:v>
                </c:pt>
                <c:pt idx="8">
                  <c:v>华东大区_EI</c:v>
                </c:pt>
                <c:pt idx="9">
                  <c:v>华北大区_EI</c:v>
                </c:pt>
              </c:strCache>
            </c:strRef>
          </c:cat>
          <c:val>
            <c:numRef>
              <c:f>Sheet1!$G$2:$G$32</c:f>
              <c:numCache>
                <c:formatCode>0</c:formatCode>
                <c:ptCount val="31"/>
                <c:pt idx="0">
                  <c:v>0.83688351190476196</c:v>
                </c:pt>
                <c:pt idx="1">
                  <c:v>1.0504856761904799</c:v>
                </c:pt>
                <c:pt idx="2">
                  <c:v>1.13452076904762</c:v>
                </c:pt>
                <c:pt idx="3">
                  <c:v>0.93461232142857098</c:v>
                </c:pt>
                <c:pt idx="4">
                  <c:v>0.77706140000000001</c:v>
                </c:pt>
                <c:pt idx="5">
                  <c:v>106.584072907451</c:v>
                </c:pt>
                <c:pt idx="6">
                  <c:v>95.620957897823502</c:v>
                </c:pt>
                <c:pt idx="7">
                  <c:v>101.64589510239399</c:v>
                </c:pt>
                <c:pt idx="8">
                  <c:v>98.4164910765586</c:v>
                </c:pt>
                <c:pt idx="9">
                  <c:v>99.1170442700498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78-402F-92A6-308A76459F3E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19M07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10"/>
                <c:pt idx="0">
                  <c:v>其他_Value</c:v>
                </c:pt>
                <c:pt idx="1">
                  <c:v>华中大区_Value</c:v>
                </c:pt>
                <c:pt idx="2">
                  <c:v>华南大区_Value</c:v>
                </c:pt>
                <c:pt idx="3">
                  <c:v>华东大区_Value</c:v>
                </c:pt>
                <c:pt idx="4">
                  <c:v>华北大区_Value</c:v>
                </c:pt>
                <c:pt idx="5">
                  <c:v>其他_EI</c:v>
                </c:pt>
                <c:pt idx="6">
                  <c:v>华中大区_EI</c:v>
                </c:pt>
                <c:pt idx="7">
                  <c:v>华南大区_EI</c:v>
                </c:pt>
                <c:pt idx="8">
                  <c:v>华东大区_EI</c:v>
                </c:pt>
                <c:pt idx="9">
                  <c:v>华北大区_EI</c:v>
                </c:pt>
              </c:strCache>
            </c:strRef>
          </c:cat>
          <c:val>
            <c:numRef>
              <c:f>Sheet1!$H$2:$H$32</c:f>
              <c:numCache>
                <c:formatCode>0</c:formatCode>
                <c:ptCount val="31"/>
                <c:pt idx="0">
                  <c:v>0.91071847857142796</c:v>
                </c:pt>
                <c:pt idx="1">
                  <c:v>1.0490660797619</c:v>
                </c:pt>
                <c:pt idx="2">
                  <c:v>1.2398018297619</c:v>
                </c:pt>
                <c:pt idx="3">
                  <c:v>1.06528771428571</c:v>
                </c:pt>
                <c:pt idx="4">
                  <c:v>0.83977623333333296</c:v>
                </c:pt>
                <c:pt idx="5">
                  <c:v>119.114512118888</c:v>
                </c:pt>
                <c:pt idx="6">
                  <c:v>98.362136331437696</c:v>
                </c:pt>
                <c:pt idx="7">
                  <c:v>90.359454079713402</c:v>
                </c:pt>
                <c:pt idx="8">
                  <c:v>102.21998979938201</c:v>
                </c:pt>
                <c:pt idx="9">
                  <c:v>97.7265437739445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078-402F-92A6-308A76459F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2741704"/>
        <c:axId val="522742096"/>
      </c:lineChart>
      <c:catAx>
        <c:axId val="522740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1312"/>
        <c:crosses val="autoZero"/>
        <c:auto val="1"/>
        <c:lblAlgn val="ctr"/>
        <c:lblOffset val="100"/>
        <c:noMultiLvlLbl val="0"/>
      </c:catAx>
      <c:valAx>
        <c:axId val="522741312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0528"/>
        <c:crosses val="autoZero"/>
        <c:crossBetween val="between"/>
      </c:valAx>
      <c:valAx>
        <c:axId val="52274209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1704"/>
        <c:crosses val="max"/>
        <c:crossBetween val="between"/>
      </c:valAx>
      <c:catAx>
        <c:axId val="522741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274209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甘肃省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E$2:$E$32</c:f>
              <c:numCache>
                <c:formatCode>0.0%</c:formatCode>
                <c:ptCount val="31"/>
                <c:pt idx="0">
                  <c:v>0.33815317049404398</c:v>
                </c:pt>
                <c:pt idx="1">
                  <c:v>7.0449109953172497</c:v>
                </c:pt>
                <c:pt idx="2">
                  <c:v>19.482709614225101</c:v>
                </c:pt>
                <c:pt idx="3">
                  <c:v>18.674589757886501</c:v>
                </c:pt>
                <c:pt idx="4">
                  <c:v>18.2904521042908</c:v>
                </c:pt>
                <c:pt idx="5">
                  <c:v>11.886303155241301</c:v>
                </c:pt>
                <c:pt idx="6">
                  <c:v>24.282881202545099</c:v>
                </c:pt>
                <c:pt idx="7">
                  <c:v>59.120818245576203</c:v>
                </c:pt>
                <c:pt idx="8">
                  <c:v>84.321004336213804</c:v>
                </c:pt>
                <c:pt idx="9">
                  <c:v>108.06433493007199</c:v>
                </c:pt>
                <c:pt idx="10">
                  <c:v>106.155235420899</c:v>
                </c:pt>
                <c:pt idx="11">
                  <c:v>127.822700263814</c:v>
                </c:pt>
                <c:pt idx="12">
                  <c:v>77.681715488411101</c:v>
                </c:pt>
                <c:pt idx="13">
                  <c:v>93.9665285414496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6B-4CF0-96C5-585EDF8206FE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福建省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D$2:$D$32</c:f>
              <c:numCache>
                <c:formatCode>0.0%</c:formatCode>
                <c:ptCount val="31"/>
                <c:pt idx="0">
                  <c:v>5.6461592768812903</c:v>
                </c:pt>
                <c:pt idx="1">
                  <c:v>47.209496307501297</c:v>
                </c:pt>
                <c:pt idx="2">
                  <c:v>5.8745713757530703E-2</c:v>
                </c:pt>
                <c:pt idx="3">
                  <c:v>15.6489343741497</c:v>
                </c:pt>
                <c:pt idx="4">
                  <c:v>17.356720693762199</c:v>
                </c:pt>
                <c:pt idx="5">
                  <c:v>0.21833263623209001</c:v>
                </c:pt>
                <c:pt idx="6">
                  <c:v>13.8616109977159</c:v>
                </c:pt>
                <c:pt idx="7">
                  <c:v>103.124027689611</c:v>
                </c:pt>
                <c:pt idx="8">
                  <c:v>114.354014916748</c:v>
                </c:pt>
                <c:pt idx="9">
                  <c:v>112.177436048917</c:v>
                </c:pt>
                <c:pt idx="10">
                  <c:v>376.85789325950299</c:v>
                </c:pt>
                <c:pt idx="11">
                  <c:v>81.048870618936704</c:v>
                </c:pt>
                <c:pt idx="12">
                  <c:v>132.35136866154099</c:v>
                </c:pt>
                <c:pt idx="13">
                  <c:v>50.486068344528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6B-4CF0-96C5-585EDF8206FE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北京市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C$2:$C$32</c:f>
              <c:numCache>
                <c:formatCode>0.0%</c:formatCode>
                <c:ptCount val="31"/>
                <c:pt idx="0">
                  <c:v>6.1945378600550898</c:v>
                </c:pt>
                <c:pt idx="1">
                  <c:v>48.280914578033197</c:v>
                </c:pt>
                <c:pt idx="2">
                  <c:v>5.5402893372595203</c:v>
                </c:pt>
                <c:pt idx="3">
                  <c:v>7.4926815360252599</c:v>
                </c:pt>
                <c:pt idx="4">
                  <c:v>23.3724860323948</c:v>
                </c:pt>
                <c:pt idx="6">
                  <c:v>9.1190906562321192</c:v>
                </c:pt>
                <c:pt idx="7">
                  <c:v>138.38678672325801</c:v>
                </c:pt>
                <c:pt idx="8">
                  <c:v>119.74465110840799</c:v>
                </c:pt>
                <c:pt idx="9">
                  <c:v>320.31929610221903</c:v>
                </c:pt>
                <c:pt idx="10">
                  <c:v>25.6355426417045</c:v>
                </c:pt>
                <c:pt idx="11">
                  <c:v>135.45555477538699</c:v>
                </c:pt>
                <c:pt idx="13">
                  <c:v>130.42534815885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6B-4CF0-96C5-585EDF8206FE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安徽省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B$2:$B$32</c:f>
              <c:numCache>
                <c:formatCode>0.0%</c:formatCode>
                <c:ptCount val="31"/>
                <c:pt idx="0">
                  <c:v>3.8441856853438598</c:v>
                </c:pt>
                <c:pt idx="1">
                  <c:v>2.16724788974761</c:v>
                </c:pt>
                <c:pt idx="2">
                  <c:v>0.21201830637938501</c:v>
                </c:pt>
                <c:pt idx="3">
                  <c:v>27.662148513692198</c:v>
                </c:pt>
                <c:pt idx="4">
                  <c:v>7.8544098028516904</c:v>
                </c:pt>
                <c:pt idx="5">
                  <c:v>0.55369140332689204</c:v>
                </c:pt>
                <c:pt idx="6">
                  <c:v>57.706298398658397</c:v>
                </c:pt>
                <c:pt idx="7">
                  <c:v>64.741202047845604</c:v>
                </c:pt>
                <c:pt idx="8">
                  <c:v>93.554983718611695</c:v>
                </c:pt>
                <c:pt idx="9">
                  <c:v>75.371493535380594</c:v>
                </c:pt>
                <c:pt idx="10">
                  <c:v>94.598804587502599</c:v>
                </c:pt>
                <c:pt idx="11">
                  <c:v>130.11912830881101</c:v>
                </c:pt>
                <c:pt idx="12">
                  <c:v>89.455001535590796</c:v>
                </c:pt>
                <c:pt idx="13">
                  <c:v>103.848906881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6B-4CF0-96C5-585EDF820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22747976"/>
        <c:axId val="522737784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广东省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F$2:$F$32</c:f>
              <c:numCache>
                <c:formatCode>0</c:formatCode>
                <c:ptCount val="31"/>
                <c:pt idx="0">
                  <c:v>7.48245092778948</c:v>
                </c:pt>
                <c:pt idx="1">
                  <c:v>40.4386772441134</c:v>
                </c:pt>
                <c:pt idx="2">
                  <c:v>0.317604820366858</c:v>
                </c:pt>
                <c:pt idx="3">
                  <c:v>20.431164384589799</c:v>
                </c:pt>
                <c:pt idx="4">
                  <c:v>20.305021446110299</c:v>
                </c:pt>
                <c:pt idx="5">
                  <c:v>5.3681122549372302E-2</c:v>
                </c:pt>
                <c:pt idx="6">
                  <c:v>10.971400054480799</c:v>
                </c:pt>
                <c:pt idx="7">
                  <c:v>117.48027858342201</c:v>
                </c:pt>
                <c:pt idx="8">
                  <c:v>109.551577579983</c:v>
                </c:pt>
                <c:pt idx="9">
                  <c:v>252.65447528471401</c:v>
                </c:pt>
                <c:pt idx="10">
                  <c:v>74.8302659688337</c:v>
                </c:pt>
                <c:pt idx="11">
                  <c:v>120.633452595406</c:v>
                </c:pt>
                <c:pt idx="12">
                  <c:v>121.242109004838</c:v>
                </c:pt>
                <c:pt idx="13">
                  <c:v>88.388858431883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6B-4CF0-96C5-585EDF8206F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广西壮族自治区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G$2:$G$32</c:f>
              <c:numCache>
                <c:formatCode>0</c:formatCode>
                <c:ptCount val="31"/>
                <c:pt idx="0">
                  <c:v>3.20414793029921</c:v>
                </c:pt>
                <c:pt idx="1">
                  <c:v>5.5889987276326103</c:v>
                </c:pt>
                <c:pt idx="2">
                  <c:v>0.780217664720668</c:v>
                </c:pt>
                <c:pt idx="3">
                  <c:v>56.332204628849503</c:v>
                </c:pt>
                <c:pt idx="4">
                  <c:v>2.60431508424228</c:v>
                </c:pt>
                <c:pt idx="5">
                  <c:v>7.4568130349817698</c:v>
                </c:pt>
                <c:pt idx="6">
                  <c:v>24.033302929274001</c:v>
                </c:pt>
                <c:pt idx="7">
                  <c:v>75.601719573500304</c:v>
                </c:pt>
                <c:pt idx="8">
                  <c:v>100.626906647551</c:v>
                </c:pt>
                <c:pt idx="9">
                  <c:v>1068.29864850031</c:v>
                </c:pt>
                <c:pt idx="10">
                  <c:v>90.715018168695295</c:v>
                </c:pt>
                <c:pt idx="11">
                  <c:v>119.965046646647</c:v>
                </c:pt>
                <c:pt idx="12">
                  <c:v>135.134145548292</c:v>
                </c:pt>
                <c:pt idx="13">
                  <c:v>118.113560640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6B-4CF0-96C5-585EDF8206FE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贵州省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H$2:$H$32</c:f>
              <c:numCache>
                <c:formatCode>0</c:formatCode>
                <c:ptCount val="31"/>
                <c:pt idx="0">
                  <c:v>1.69369549647242</c:v>
                </c:pt>
                <c:pt idx="1">
                  <c:v>7.6337700726431299</c:v>
                </c:pt>
                <c:pt idx="3">
                  <c:v>37.350247704476097</c:v>
                </c:pt>
                <c:pt idx="4">
                  <c:v>12.430250436099501</c:v>
                </c:pt>
                <c:pt idx="5">
                  <c:v>0.18064764284645299</c:v>
                </c:pt>
                <c:pt idx="6">
                  <c:v>39.8375918238266</c:v>
                </c:pt>
                <c:pt idx="7">
                  <c:v>94.337799781513795</c:v>
                </c:pt>
                <c:pt idx="8">
                  <c:v>78.405371383622807</c:v>
                </c:pt>
                <c:pt idx="10">
                  <c:v>97.2644607553014</c:v>
                </c:pt>
                <c:pt idx="11">
                  <c:v>136.51154272227799</c:v>
                </c:pt>
                <c:pt idx="12">
                  <c:v>1.4541451744033</c:v>
                </c:pt>
                <c:pt idx="13">
                  <c:v>139.58969070081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76B-4CF0-96C5-585EDF820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2738960"/>
        <c:axId val="522738568"/>
      </c:lineChart>
      <c:catAx>
        <c:axId val="522747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37784"/>
        <c:crosses val="autoZero"/>
        <c:auto val="1"/>
        <c:lblAlgn val="ctr"/>
        <c:lblOffset val="100"/>
        <c:noMultiLvlLbl val="0"/>
      </c:catAx>
      <c:valAx>
        <c:axId val="522737784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7976"/>
        <c:crosses val="autoZero"/>
        <c:crossBetween val="between"/>
      </c:valAx>
      <c:valAx>
        <c:axId val="522738568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38960"/>
        <c:crosses val="max"/>
        <c:crossBetween val="between"/>
      </c:valAx>
      <c:catAx>
        <c:axId val="5227389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2738568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(Mn)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16M03 YTD</c:v>
                </c:pt>
                <c:pt idx="1">
                  <c:v>17M03 YTD</c:v>
                </c:pt>
                <c:pt idx="2">
                  <c:v>18M03 YTD</c:v>
                </c:pt>
                <c:pt idx="3">
                  <c:v>19M03 YTD</c:v>
                </c:pt>
                <c:pt idx="4">
                  <c:v>20M03 YTD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2" formatCode="_ * #,##0_ ;_ * \-#,##0_ ;_ * &quot;-&quot;??_ ;_ @_ ">
                  <c:v>1976.8806386000001</c:v>
                </c:pt>
                <c:pt idx="3" formatCode="_ * #,##0_ ;_ * \-#,##0_ ;_ * &quot;-&quot;??_ ;_ @_ ">
                  <c:v>1902.1482892700001</c:v>
                </c:pt>
                <c:pt idx="4" formatCode="_ * #,##0_ ;_ * \-#,##0_ ;_ * &quot;-&quot;??_ ;_ @_ ">
                  <c:v>675.62164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16-4201-9208-81EE764A6C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21370704"/>
        <c:axId val="4213734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%</c:v>
                </c:pt>
              </c:strCache>
            </c:strRef>
          </c:tx>
          <c:spPr>
            <a:ln w="19050" cap="flat" cmpd="sng" algn="ctr">
              <a:solidFill>
                <a:schemeClr val="accent2"/>
              </a:solidFill>
              <a:prstDash val="solid"/>
              <a:miter lim="800000"/>
            </a:ln>
            <a:effectLst/>
          </c:spPr>
          <c:marker>
            <c:symbol val="circle"/>
            <c:size val="4"/>
            <c:spPr>
              <a:ln w="19050">
                <a:solidFill>
                  <a:schemeClr val="accent2"/>
                </a:solidFill>
                <a:prstDash val="solid"/>
              </a:ln>
            </c:spPr>
          </c:marker>
          <c:cat>
            <c:strRef>
              <c:f>Sheet1!$A$2:$A$6</c:f>
              <c:strCache>
                <c:ptCount val="5"/>
                <c:pt idx="0">
                  <c:v>16M03 YTD</c:v>
                </c:pt>
                <c:pt idx="1">
                  <c:v>17M03 YTD</c:v>
                </c:pt>
                <c:pt idx="2">
                  <c:v>18M03 YTD</c:v>
                </c:pt>
                <c:pt idx="3">
                  <c:v>19M03 YTD</c:v>
                </c:pt>
                <c:pt idx="4">
                  <c:v>20M03 YTD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3" formatCode="0%">
                  <c:v>-3.7803167207365797E-2</c:v>
                </c:pt>
                <c:pt idx="4" formatCode="0%">
                  <c:v>-0.64481126455220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16-4201-9208-81EE764A6C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370312"/>
        <c:axId val="421375016"/>
      </c:lineChart>
      <c:catAx>
        <c:axId val="42137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3448"/>
        <c:crosses val="autoZero"/>
        <c:auto val="1"/>
        <c:lblAlgn val="ctr"/>
        <c:lblOffset val="100"/>
        <c:noMultiLvlLbl val="0"/>
      </c:catAx>
      <c:valAx>
        <c:axId val="421373448"/>
        <c:scaling>
          <c:orientation val="minMax"/>
        </c:scaling>
        <c:delete val="0"/>
        <c:axPos val="l"/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0704"/>
        <c:crosses val="autoZero"/>
        <c:crossBetween val="between"/>
      </c:valAx>
      <c:valAx>
        <c:axId val="421375016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21370312"/>
        <c:crosses val="max"/>
        <c:crossBetween val="between"/>
      </c:valAx>
      <c:catAx>
        <c:axId val="4213703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137501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 rtl="0">
              <a:defRPr sz="700"/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+mn-lt"/>
        </a:defRPr>
      </a:pPr>
      <a:endParaRPr lang="zh-CN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甘肃省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E$2:$E$32</c:f>
              <c:numCache>
                <c:formatCode>0.0%</c:formatCode>
                <c:ptCount val="31"/>
                <c:pt idx="0">
                  <c:v>0.19957486109623901</c:v>
                </c:pt>
                <c:pt idx="1">
                  <c:v>1.99072329723048</c:v>
                </c:pt>
                <c:pt idx="2">
                  <c:v>38.836669811906297</c:v>
                </c:pt>
                <c:pt idx="3">
                  <c:v>16.8487030509405</c:v>
                </c:pt>
                <c:pt idx="4">
                  <c:v>3.01729245188293</c:v>
                </c:pt>
                <c:pt idx="5">
                  <c:v>15.1307843834142</c:v>
                </c:pt>
                <c:pt idx="6">
                  <c:v>23.976252143529301</c:v>
                </c:pt>
                <c:pt idx="7">
                  <c:v>54.815803534805802</c:v>
                </c:pt>
                <c:pt idx="8">
                  <c:v>79.6848888572124</c:v>
                </c:pt>
                <c:pt idx="9">
                  <c:v>124.567431215998</c:v>
                </c:pt>
                <c:pt idx="10">
                  <c:v>93.867055121792404</c:v>
                </c:pt>
                <c:pt idx="11">
                  <c:v>127.01076039976</c:v>
                </c:pt>
                <c:pt idx="12">
                  <c:v>78.186170674475093</c:v>
                </c:pt>
                <c:pt idx="13">
                  <c:v>91.2232931758847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78-402F-92A6-308A76459F3E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福建省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D$2:$D$32</c:f>
              <c:numCache>
                <c:formatCode>0.0%</c:formatCode>
                <c:ptCount val="31"/>
                <c:pt idx="0">
                  <c:v>3.0842804902563801</c:v>
                </c:pt>
                <c:pt idx="1">
                  <c:v>22.169757135773601</c:v>
                </c:pt>
                <c:pt idx="2">
                  <c:v>0.120337368221375</c:v>
                </c:pt>
                <c:pt idx="3">
                  <c:v>55.040846661736197</c:v>
                </c:pt>
                <c:pt idx="4">
                  <c:v>3.4698381641683298</c:v>
                </c:pt>
                <c:pt idx="5">
                  <c:v>0.15806756905195299</c:v>
                </c:pt>
                <c:pt idx="6">
                  <c:v>15.9568726107921</c:v>
                </c:pt>
                <c:pt idx="7">
                  <c:v>63.993585972082201</c:v>
                </c:pt>
                <c:pt idx="8">
                  <c:v>86.867468657062304</c:v>
                </c:pt>
                <c:pt idx="9">
                  <c:v>108.15199119596799</c:v>
                </c:pt>
                <c:pt idx="10">
                  <c:v>1989.59453119417</c:v>
                </c:pt>
                <c:pt idx="11">
                  <c:v>73.082159994992097</c:v>
                </c:pt>
                <c:pt idx="12">
                  <c:v>79.307802930872001</c:v>
                </c:pt>
                <c:pt idx="13">
                  <c:v>25.805942711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78-402F-92A6-308A76459F3E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北京市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C$2:$C$32</c:f>
              <c:numCache>
                <c:formatCode>0.0%</c:formatCode>
                <c:ptCount val="31"/>
                <c:pt idx="0">
                  <c:v>4.8824508847036796</c:v>
                </c:pt>
                <c:pt idx="1">
                  <c:v>32.745438403397799</c:v>
                </c:pt>
                <c:pt idx="2">
                  <c:v>11.478396815436501</c:v>
                </c:pt>
                <c:pt idx="3">
                  <c:v>35.5629040735543</c:v>
                </c:pt>
                <c:pt idx="4">
                  <c:v>6.8812334273026501</c:v>
                </c:pt>
                <c:pt idx="6">
                  <c:v>8.4495763956050496</c:v>
                </c:pt>
                <c:pt idx="7">
                  <c:v>82.767279720711798</c:v>
                </c:pt>
                <c:pt idx="8">
                  <c:v>94.046555070056499</c:v>
                </c:pt>
                <c:pt idx="9">
                  <c:v>192.479921200744</c:v>
                </c:pt>
                <c:pt idx="10">
                  <c:v>103.14324661747</c:v>
                </c:pt>
                <c:pt idx="11">
                  <c:v>118.933216179417</c:v>
                </c:pt>
                <c:pt idx="13">
                  <c:v>64.726387980626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78-402F-92A6-308A76459F3E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安徽省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B$2:$B$32</c:f>
              <c:numCache>
                <c:formatCode>0.0%</c:formatCode>
                <c:ptCount val="31"/>
                <c:pt idx="0">
                  <c:v>2.6197156142270899</c:v>
                </c:pt>
                <c:pt idx="1">
                  <c:v>1.0562612304771299</c:v>
                </c:pt>
                <c:pt idx="2">
                  <c:v>0.50042048313005305</c:v>
                </c:pt>
                <c:pt idx="3">
                  <c:v>28.812821231722602</c:v>
                </c:pt>
                <c:pt idx="4">
                  <c:v>1.3790163592986899</c:v>
                </c:pt>
                <c:pt idx="5">
                  <c:v>0.513888736113148</c:v>
                </c:pt>
                <c:pt idx="6">
                  <c:v>65.117876345031306</c:v>
                </c:pt>
                <c:pt idx="7">
                  <c:v>64.209462309406703</c:v>
                </c:pt>
                <c:pt idx="8">
                  <c:v>102.706385128818</c:v>
                </c:pt>
                <c:pt idx="9">
                  <c:v>105.637784417387</c:v>
                </c:pt>
                <c:pt idx="10">
                  <c:v>98.603746833163001</c:v>
                </c:pt>
                <c:pt idx="11">
                  <c:v>131.89974381169799</c:v>
                </c:pt>
                <c:pt idx="12">
                  <c:v>84.915236359980895</c:v>
                </c:pt>
                <c:pt idx="13">
                  <c:v>102.472948998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78-402F-92A6-308A76459F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22740528"/>
        <c:axId val="522741312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广东省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F$2:$F$32</c:f>
              <c:numCache>
                <c:formatCode>0</c:formatCode>
                <c:ptCount val="31"/>
                <c:pt idx="0">
                  <c:v>6.1694762279935</c:v>
                </c:pt>
                <c:pt idx="1">
                  <c:v>26.8911252047631</c:v>
                </c:pt>
                <c:pt idx="2">
                  <c:v>0.75791876950233195</c:v>
                </c:pt>
                <c:pt idx="3">
                  <c:v>41.225728400008798</c:v>
                </c:pt>
                <c:pt idx="4">
                  <c:v>5.2947859848870404</c:v>
                </c:pt>
                <c:pt idx="5">
                  <c:v>5.8694105424480197E-2</c:v>
                </c:pt>
                <c:pt idx="6">
                  <c:v>19.6022713074208</c:v>
                </c:pt>
                <c:pt idx="7">
                  <c:v>96.367342261639095</c:v>
                </c:pt>
                <c:pt idx="8">
                  <c:v>102.850726670746</c:v>
                </c:pt>
                <c:pt idx="9">
                  <c:v>229.66096301361901</c:v>
                </c:pt>
                <c:pt idx="10">
                  <c:v>103.66148378291</c:v>
                </c:pt>
                <c:pt idx="11">
                  <c:v>123.480188785987</c:v>
                </c:pt>
                <c:pt idx="12">
                  <c:v>93.412445568857805</c:v>
                </c:pt>
                <c:pt idx="13">
                  <c:v>85.220621157317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78-402F-92A6-308A76459F3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广西壮族自治区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G$2:$G$32</c:f>
              <c:numCache>
                <c:formatCode>0</c:formatCode>
                <c:ptCount val="31"/>
                <c:pt idx="0">
                  <c:v>2.3617509320577001</c:v>
                </c:pt>
                <c:pt idx="1">
                  <c:v>2.6227902088884401</c:v>
                </c:pt>
                <c:pt idx="2">
                  <c:v>8.8693291987959295</c:v>
                </c:pt>
                <c:pt idx="3">
                  <c:v>56.438976065322798</c:v>
                </c:pt>
                <c:pt idx="4">
                  <c:v>0.49706150534473498</c:v>
                </c:pt>
                <c:pt idx="5">
                  <c:v>6.2027329886825404</c:v>
                </c:pt>
                <c:pt idx="6">
                  <c:v>23.007359100907799</c:v>
                </c:pt>
                <c:pt idx="7">
                  <c:v>59.773083641968498</c:v>
                </c:pt>
                <c:pt idx="8">
                  <c:v>80.989766359675698</c:v>
                </c:pt>
                <c:pt idx="9">
                  <c:v>5266.1992026083499</c:v>
                </c:pt>
                <c:pt idx="10">
                  <c:v>92.9115560673049</c:v>
                </c:pt>
                <c:pt idx="11">
                  <c:v>96.197964440927507</c:v>
                </c:pt>
                <c:pt idx="12">
                  <c:v>91.825403566833799</c:v>
                </c:pt>
                <c:pt idx="13">
                  <c:v>93.4290171598813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78-402F-92A6-308A76459F3E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贵州省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H$2:$H$32</c:f>
              <c:numCache>
                <c:formatCode>0</c:formatCode>
                <c:ptCount val="31"/>
                <c:pt idx="0">
                  <c:v>1.93484368620914</c:v>
                </c:pt>
                <c:pt idx="1">
                  <c:v>6.0710075250103301</c:v>
                </c:pt>
                <c:pt idx="3">
                  <c:v>19.294481156258701</c:v>
                </c:pt>
                <c:pt idx="4">
                  <c:v>4.1086378434633</c:v>
                </c:pt>
                <c:pt idx="5">
                  <c:v>0.351851299571661</c:v>
                </c:pt>
                <c:pt idx="6">
                  <c:v>50.722024369652601</c:v>
                </c:pt>
                <c:pt idx="7">
                  <c:v>80.797885343016006</c:v>
                </c:pt>
                <c:pt idx="8">
                  <c:v>68.579874877953102</c:v>
                </c:pt>
                <c:pt idx="10">
                  <c:v>68.557530934599995</c:v>
                </c:pt>
                <c:pt idx="11">
                  <c:v>122.817154967638</c:v>
                </c:pt>
                <c:pt idx="12">
                  <c:v>2.30677299551777</c:v>
                </c:pt>
                <c:pt idx="13">
                  <c:v>120.734865929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078-402F-92A6-308A76459F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2741704"/>
        <c:axId val="522742096"/>
      </c:lineChart>
      <c:catAx>
        <c:axId val="522740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1312"/>
        <c:crosses val="autoZero"/>
        <c:auto val="1"/>
        <c:lblAlgn val="ctr"/>
        <c:lblOffset val="100"/>
        <c:noMultiLvlLbl val="0"/>
      </c:catAx>
      <c:valAx>
        <c:axId val="522741312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0528"/>
        <c:crosses val="autoZero"/>
        <c:crossBetween val="between"/>
      </c:valAx>
      <c:valAx>
        <c:axId val="52274209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1704"/>
        <c:crosses val="max"/>
        <c:crossBetween val="between"/>
      </c:valAx>
      <c:catAx>
        <c:axId val="522741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274209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6</c:f>
              <c:strCache>
                <c:ptCount val="1"/>
                <c:pt idx="0">
                  <c:v>Tier 5</c:v>
                </c:pt>
              </c:strCache>
            </c:strRef>
          </c:tx>
          <c:spPr>
            <a:solidFill>
              <a:srgbClr val="FBEE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B05D679-1C75-47D5-90D9-977C19C105A3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620C-4CC6-B144-E21FA8DA4CA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1E188A8-11D4-4EE3-BAB4-04F09FE67E8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620C-4CC6-B144-E21FA8DA4C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DB40720-35A4-4778-ACB8-DEE820CE0B5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620C-4CC6-B144-E21FA8DA4C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20C-4CC6-B144-E21FA8DA4C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20C-4CC6-B144-E21FA8DA4C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  <c:pt idx="0">
                  <c:v>0.18337040677717301</c:v>
                </c:pt>
                <c:pt idx="1">
                  <c:v>0.18611511195204</c:v>
                </c:pt>
                <c:pt idx="2">
                  <c:v>0.20301189653536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6:$K$6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5-620C-4CC6-B144-E21FA8DA4CA3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  <c:pt idx="0">
                  <c:v>Tier 4</c:v>
                </c:pt>
              </c:strCache>
            </c:strRef>
          </c:tx>
          <c:spPr>
            <a:solidFill>
              <a:srgbClr val="FFC42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7C68599-7DA7-4EEA-A8B2-2772F7E9D034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620C-4CC6-B144-E21FA8DA4CA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37453E2-B8AA-4EF6-9F3A-146FE7214D4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620C-4CC6-B144-E21FA8DA4C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12C8595-1078-4CC9-9A24-498A68837A0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620C-4CC6-B144-E21FA8DA4C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20C-4CC6-B144-E21FA8DA4C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20C-4CC6-B144-E21FA8DA4C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  <c:pt idx="0">
                  <c:v>0.19571951606749899</c:v>
                </c:pt>
                <c:pt idx="1">
                  <c:v>0.19931284706709501</c:v>
                </c:pt>
                <c:pt idx="2">
                  <c:v>0.2259636176196609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5:$K$5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B-620C-4CC6-B144-E21FA8DA4CA3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Tier 3</c:v>
                </c:pt>
              </c:strCache>
            </c:strRef>
          </c:tx>
          <c:spPr>
            <a:solidFill>
              <a:srgbClr val="F0A22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07643D7-FFAE-47BB-B52F-1B5D5CEF8684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620C-4CC6-B144-E21FA8DA4CA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D743B96-1B47-4B64-BCAA-4E06031D9E7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620C-4CC6-B144-E21FA8DA4C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B2C4BC2-6A16-4E05-908F-EA45E9B1D04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620C-4CC6-B144-E21FA8DA4C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20C-4CC6-B144-E21FA8DA4C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20C-4CC6-B144-E21FA8DA4C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  <c:pt idx="0">
                  <c:v>0.19474745754637299</c:v>
                </c:pt>
                <c:pt idx="1">
                  <c:v>0.196229143985684</c:v>
                </c:pt>
                <c:pt idx="2">
                  <c:v>0.21760128848994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K$4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11-620C-4CC6-B144-E21FA8DA4CA3}"/>
            </c:ext>
          </c:extLst>
        </c:ser>
        <c:ser>
          <c:idx val="3"/>
          <c:order val="3"/>
          <c:tx>
            <c:strRef>
              <c:f>Sheet1!$A$3</c:f>
              <c:strCache>
                <c:ptCount val="1"/>
                <c:pt idx="0">
                  <c:v>Tier 2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028F34E-CF21-4EF7-BA39-4657E541940C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620C-4CC6-B144-E21FA8DA4CA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4E5C8F8-5EE5-40D6-A70E-A576BC079E4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620C-4CC6-B144-E21FA8DA4C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D5CE887-42EC-4FDF-9B85-24C0E57184E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620C-4CC6-B144-E21FA8DA4C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620C-4CC6-B144-E21FA8DA4C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620C-4CC6-B144-E21FA8DA4C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0.22399380731129601</c:v>
                </c:pt>
                <c:pt idx="1">
                  <c:v>0.21813569832726801</c:v>
                </c:pt>
                <c:pt idx="2">
                  <c:v>0.2030035027695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17-620C-4CC6-B144-E21FA8DA4CA3}"/>
            </c:ext>
          </c:extLst>
        </c:ser>
        <c:ser>
          <c:idx val="4"/>
          <c:order val="4"/>
          <c:tx>
            <c:strRef>
              <c:f>Sheet1!$A$2</c:f>
              <c:strCache>
                <c:ptCount val="1"/>
                <c:pt idx="0">
                  <c:v>Tier 1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D9C33A2-53B2-438A-86F4-90188A87344D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620C-4CC6-B144-E21FA8DA4CA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23331F6-BE26-4952-9A1C-38BCD013C666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620C-4CC6-B144-E21FA8DA4C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86A29BF-E86A-475F-8A08-9D576D393EE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620C-4CC6-B144-E21FA8DA4C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620C-4CC6-B144-E21FA8DA4C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620C-4CC6-B144-E21FA8DA4C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0.20216881229765901</c:v>
                </c:pt>
                <c:pt idx="1">
                  <c:v>0.20020719866791301</c:v>
                </c:pt>
                <c:pt idx="2">
                  <c:v>0.15041969458547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1D-620C-4CC6-B144-E21FA8DA4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21418536"/>
        <c:axId val="521416576"/>
      </c:barChart>
      <c:catAx>
        <c:axId val="521418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416576"/>
        <c:crosses val="autoZero"/>
        <c:auto val="1"/>
        <c:lblAlgn val="ctr"/>
        <c:lblOffset val="100"/>
        <c:noMultiLvlLbl val="0"/>
      </c:catAx>
      <c:valAx>
        <c:axId val="5214165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21418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396710109512177"/>
          <c:y val="0.2828724491841399"/>
          <c:w val="0.17821399714114838"/>
          <c:h val="0.55634910095016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6</c:f>
              <c:strCache>
                <c:ptCount val="1"/>
                <c:pt idx="0">
                  <c:v>Tier 5</c:v>
                </c:pt>
              </c:strCache>
            </c:strRef>
          </c:tx>
          <c:spPr>
            <a:solidFill>
              <a:srgbClr val="FBEE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EB22362-95C4-417F-AD1D-ECA3A59A17CD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A8BA-499C-A9EA-CFEFF6F8B78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E840EEF-9F01-40BB-B714-95F5E39111C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A8BA-499C-A9EA-CFEFF6F8B78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D80D7F1-239C-4D5A-98D6-D191900E96C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A8BA-499C-A9EA-CFEFF6F8B78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8BA-499C-A9EA-CFEFF6F8B78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8BA-499C-A9EA-CFEFF6F8B7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  <c:pt idx="0">
                  <c:v>0.19879396805658101</c:v>
                </c:pt>
                <c:pt idx="1">
                  <c:v>0.20316012129569699</c:v>
                </c:pt>
                <c:pt idx="2">
                  <c:v>0.213461480958155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6:$K$6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5-A8BA-499C-A9EA-CFEFF6F8B788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  <c:pt idx="0">
                  <c:v>Tier 4</c:v>
                </c:pt>
              </c:strCache>
            </c:strRef>
          </c:tx>
          <c:spPr>
            <a:solidFill>
              <a:srgbClr val="FFC42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E1E0D25-8966-410B-9232-3AAC337B4E9D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A8BA-499C-A9EA-CFEFF6F8B78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FD65853-1235-47CA-A609-267D20CFB7A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A8BA-499C-A9EA-CFEFF6F8B78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3CB0738-A4C3-4BF0-A118-5AC4847CE79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A8BA-499C-A9EA-CFEFF6F8B78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8BA-499C-A9EA-CFEFF6F8B78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8BA-499C-A9EA-CFEFF6F8B7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  <c:pt idx="0">
                  <c:v>0.20153778341905099</c:v>
                </c:pt>
                <c:pt idx="1">
                  <c:v>0.19745911956002901</c:v>
                </c:pt>
                <c:pt idx="2">
                  <c:v>0.2102647798722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5:$K$5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B-A8BA-499C-A9EA-CFEFF6F8B788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Tier 3</c:v>
                </c:pt>
              </c:strCache>
            </c:strRef>
          </c:tx>
          <c:spPr>
            <a:solidFill>
              <a:srgbClr val="F0A22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F8BE5AF-19C6-4361-A3E8-A95347212564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A8BA-499C-A9EA-CFEFF6F8B78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A4E7D0A-5BE0-4B92-A49D-E874A81FDB8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A8BA-499C-A9EA-CFEFF6F8B78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3898D39-2842-4795-9B3D-86305B769666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A8BA-499C-A9EA-CFEFF6F8B78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8BA-499C-A9EA-CFEFF6F8B78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8BA-499C-A9EA-CFEFF6F8B7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  <c:pt idx="0">
                  <c:v>0.195036313853203</c:v>
                </c:pt>
                <c:pt idx="1">
                  <c:v>0.199227139588637</c:v>
                </c:pt>
                <c:pt idx="2">
                  <c:v>0.2248020986040099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K$4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11-A8BA-499C-A9EA-CFEFF6F8B788}"/>
            </c:ext>
          </c:extLst>
        </c:ser>
        <c:ser>
          <c:idx val="3"/>
          <c:order val="3"/>
          <c:tx>
            <c:strRef>
              <c:f>Sheet1!$A$3</c:f>
              <c:strCache>
                <c:ptCount val="1"/>
                <c:pt idx="0">
                  <c:v>Tier 2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AF3D606-0C8E-421B-8B44-72E2926A2F2F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A8BA-499C-A9EA-CFEFF6F8B78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918A8F5-B747-49D7-BBDD-116E3CFA28A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A8BA-499C-A9EA-CFEFF6F8B78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96EFEFA-4A53-4021-BCDF-B312FC974C6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A8BA-499C-A9EA-CFEFF6F8B78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8BA-499C-A9EA-CFEFF6F8B78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8BA-499C-A9EA-CFEFF6F8B7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0.233029158883829</c:v>
                </c:pt>
                <c:pt idx="1">
                  <c:v>0.22535912755651</c:v>
                </c:pt>
                <c:pt idx="2">
                  <c:v>0.1956582873695809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17-A8BA-499C-A9EA-CFEFF6F8B788}"/>
            </c:ext>
          </c:extLst>
        </c:ser>
        <c:ser>
          <c:idx val="4"/>
          <c:order val="4"/>
          <c:tx>
            <c:strRef>
              <c:f>Sheet1!$A$2</c:f>
              <c:strCache>
                <c:ptCount val="1"/>
                <c:pt idx="0">
                  <c:v>Tier 1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7B73B93-A712-45CA-9EFF-C93523EB129D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A8BA-499C-A9EA-CFEFF6F8B78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8B7DF0C-CC05-4DAA-90E6-CDE624044D3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A8BA-499C-A9EA-CFEFF6F8B78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381CABB-CDA1-4C2A-B9B1-F62BA3FF065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A8BA-499C-A9EA-CFEFF6F8B78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A8BA-499C-A9EA-CFEFF6F8B78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A8BA-499C-A9EA-CFEFF6F8B7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0.17160277578733699</c:v>
                </c:pt>
                <c:pt idx="1">
                  <c:v>0.174794491999127</c:v>
                </c:pt>
                <c:pt idx="2">
                  <c:v>0.1558133531959939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1D-A8BA-499C-A9EA-CFEFF6F8B7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21420104"/>
        <c:axId val="421907448"/>
      </c:barChart>
      <c:catAx>
        <c:axId val="521420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907448"/>
        <c:crosses val="autoZero"/>
        <c:auto val="1"/>
        <c:lblAlgn val="ctr"/>
        <c:lblOffset val="100"/>
        <c:noMultiLvlLbl val="0"/>
      </c:catAx>
      <c:valAx>
        <c:axId val="4219074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21420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396710109512177"/>
          <c:y val="0.2828724491841399"/>
          <c:w val="0.17821399714114838"/>
          <c:h val="0.55634910095016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Tier 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E$2:$E$15</c:f>
              <c:numCache>
                <c:formatCode>0.0%</c:formatCode>
                <c:ptCount val="14"/>
                <c:pt idx="0">
                  <c:v>2.44346256033992</c:v>
                </c:pt>
                <c:pt idx="1">
                  <c:v>19.126118366117801</c:v>
                </c:pt>
                <c:pt idx="2">
                  <c:v>1.31943609482632</c:v>
                </c:pt>
                <c:pt idx="3">
                  <c:v>35.674038902939103</c:v>
                </c:pt>
                <c:pt idx="4">
                  <c:v>13.2005601717283</c:v>
                </c:pt>
                <c:pt idx="5">
                  <c:v>4.9491486575954902</c:v>
                </c:pt>
                <c:pt idx="6">
                  <c:v>23.287235246453101</c:v>
                </c:pt>
                <c:pt idx="7">
                  <c:v>84.250892558129493</c:v>
                </c:pt>
                <c:pt idx="8">
                  <c:v>105.071256091035</c:v>
                </c:pt>
                <c:pt idx="9">
                  <c:v>102.33254454626901</c:v>
                </c:pt>
                <c:pt idx="10">
                  <c:v>89.870663662950804</c:v>
                </c:pt>
                <c:pt idx="11">
                  <c:v>133.86294285076499</c:v>
                </c:pt>
                <c:pt idx="12">
                  <c:v>101.35015057365599</c:v>
                </c:pt>
                <c:pt idx="13">
                  <c:v>100.5142826479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64-4469-A8E6-C1A5CC3859D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Tier 3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D$2:$D$15</c:f>
              <c:numCache>
                <c:formatCode>0.0%</c:formatCode>
                <c:ptCount val="14"/>
                <c:pt idx="0">
                  <c:v>2.2647519606059898</c:v>
                </c:pt>
                <c:pt idx="1">
                  <c:v>16.731621450790101</c:v>
                </c:pt>
                <c:pt idx="2">
                  <c:v>1.85988303045504</c:v>
                </c:pt>
                <c:pt idx="3">
                  <c:v>35.983594590702097</c:v>
                </c:pt>
                <c:pt idx="4">
                  <c:v>13.8786250807592</c:v>
                </c:pt>
                <c:pt idx="5" formatCode="_ * #,##0_ ;_ * \-#,##0_ ;_ * &quot;-&quot;??_ ;_ @_ ">
                  <c:v>7.2013698099801999</c:v>
                </c:pt>
                <c:pt idx="6" formatCode="_ * #,##0_ ;_ * \-#,##0_ ;_ * &quot;-&quot;??_ ;_ @_ ">
                  <c:v>22.080154076707299</c:v>
                </c:pt>
                <c:pt idx="7" formatCode="_ * #,##0_ ;_ * \-#,##0_ ;_ * &quot;-&quot;??_ ;_ @_ ">
                  <c:v>78.390695815980294</c:v>
                </c:pt>
                <c:pt idx="8" formatCode="_ * #,##0_ ;_ * \-#,##0_ ;_ * &quot;-&quot;??_ ;_ @_ ">
                  <c:v>111.614803768942</c:v>
                </c:pt>
                <c:pt idx="9" formatCode="_ * #,##0_ ;_ * \-#,##0_ ;_ * &quot;-&quot;??_ ;_ @_ ">
                  <c:v>95.278344522601699</c:v>
                </c:pt>
                <c:pt idx="10" formatCode="_ * #,##0_ ;_ * \-#,##0_ ;_ * &quot;-&quot;??_ ;_ @_ ">
                  <c:v>86.066235096160597</c:v>
                </c:pt>
                <c:pt idx="11" formatCode="_ * #,##0_ ;_ * \-#,##0_ ;_ * &quot;-&quot;??_ ;_ @_ ">
                  <c:v>115.858109064738</c:v>
                </c:pt>
                <c:pt idx="12" formatCode="_ * #,##0_ ;_ * \-#,##0_ ;_ * &quot;-&quot;??_ ;_ @_ ">
                  <c:v>131.30693398407601</c:v>
                </c:pt>
                <c:pt idx="13" formatCode="_ * #,##0_ ;_ * \-#,##0_ ;_ * &quot;-&quot;??_ ;_ @_ ">
                  <c:v>105.66772970849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64-4469-A8E6-C1A5CC3859DB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Tier 2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C$2:$C$15</c:f>
              <c:numCache>
                <c:formatCode>0.0%</c:formatCode>
                <c:ptCount val="14"/>
                <c:pt idx="0">
                  <c:v>4.7887207653657198</c:v>
                </c:pt>
                <c:pt idx="1">
                  <c:v>23.119354606745699</c:v>
                </c:pt>
                <c:pt idx="2">
                  <c:v>1.57175530523545</c:v>
                </c:pt>
                <c:pt idx="3">
                  <c:v>30.6825929123072</c:v>
                </c:pt>
                <c:pt idx="4">
                  <c:v>15.547710532742901</c:v>
                </c:pt>
                <c:pt idx="5">
                  <c:v>5.7905508209051497</c:v>
                </c:pt>
                <c:pt idx="6">
                  <c:v>18.499315056697899</c:v>
                </c:pt>
                <c:pt idx="7">
                  <c:v>101.76538898293001</c:v>
                </c:pt>
                <c:pt idx="8">
                  <c:v>118.734728323277</c:v>
                </c:pt>
                <c:pt idx="9">
                  <c:v>100.508374478154</c:v>
                </c:pt>
                <c:pt idx="10">
                  <c:v>82.073915820645595</c:v>
                </c:pt>
                <c:pt idx="11">
                  <c:v>131.64198734015301</c:v>
                </c:pt>
                <c:pt idx="12">
                  <c:v>112.24298672022999</c:v>
                </c:pt>
                <c:pt idx="13">
                  <c:v>92.935831113834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64-4469-A8E6-C1A5CC3859DB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Tier 1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B$2:$B$15</c:f>
              <c:numCache>
                <c:formatCode>0.0%</c:formatCode>
                <c:ptCount val="14"/>
                <c:pt idx="0">
                  <c:v>8.8259066189476396</c:v>
                </c:pt>
                <c:pt idx="1">
                  <c:v>41.806073731476097</c:v>
                </c:pt>
                <c:pt idx="2">
                  <c:v>1.7042295819358499</c:v>
                </c:pt>
                <c:pt idx="3">
                  <c:v>16.564664449061699</c:v>
                </c:pt>
                <c:pt idx="4">
                  <c:v>20.6169201597443</c:v>
                </c:pt>
                <c:pt idx="5" formatCode="General">
                  <c:v>0.34635188519989302</c:v>
                </c:pt>
                <c:pt idx="6" formatCode="General">
                  <c:v>10.1358535736346</c:v>
                </c:pt>
                <c:pt idx="7" formatCode="General">
                  <c:v>151.61014020261501</c:v>
                </c:pt>
                <c:pt idx="8" formatCode="General">
                  <c:v>117.041949333367</c:v>
                </c:pt>
                <c:pt idx="9" formatCode="General">
                  <c:v>138.136308939016</c:v>
                </c:pt>
                <c:pt idx="10" formatCode="General">
                  <c:v>59.3944150789033</c:v>
                </c:pt>
                <c:pt idx="11" formatCode="General">
                  <c:v>120.89633052060999</c:v>
                </c:pt>
                <c:pt idx="12" formatCode="General">
                  <c:v>54.254004813010702</c:v>
                </c:pt>
                <c:pt idx="13" formatCode="General">
                  <c:v>87.04113479652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64-4469-A8E6-C1A5CC3859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21910584"/>
        <c:axId val="421905096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Tier 5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F$2:$F$15</c:f>
              <c:numCache>
                <c:formatCode>0.0</c:formatCode>
                <c:ptCount val="14"/>
                <c:pt idx="0">
                  <c:v>1.68314195616484</c:v>
                </c:pt>
                <c:pt idx="1">
                  <c:v>14.7158258035785</c:v>
                </c:pt>
                <c:pt idx="2">
                  <c:v>1.6421640173148799</c:v>
                </c:pt>
                <c:pt idx="3">
                  <c:v>32.926308744099202</c:v>
                </c:pt>
                <c:pt idx="4">
                  <c:v>12.841389478985199</c:v>
                </c:pt>
                <c:pt idx="5">
                  <c:v>8.5830869526010893</c:v>
                </c:pt>
                <c:pt idx="6">
                  <c:v>27.608083047256301</c:v>
                </c:pt>
                <c:pt idx="7">
                  <c:v>80.118436037648607</c:v>
                </c:pt>
                <c:pt idx="8">
                  <c:v>105.183726747083</c:v>
                </c:pt>
                <c:pt idx="9">
                  <c:v>116.77188735027801</c:v>
                </c:pt>
                <c:pt idx="10">
                  <c:v>87.760027091641206</c:v>
                </c:pt>
                <c:pt idx="11">
                  <c:v>139.74386600733999</c:v>
                </c:pt>
                <c:pt idx="12">
                  <c:v>103.453004058617</c:v>
                </c:pt>
                <c:pt idx="13">
                  <c:v>100.40076744912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F64-4469-A8E6-C1A5CC3859D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列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G$2:$G$15</c:f>
              <c:numCache>
                <c:formatCode>0.0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F64-4469-A8E6-C1A5CC3859DB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列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H$2:$H$15</c:f>
              <c:numCache>
                <c:formatCode>0.0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F64-4469-A8E6-C1A5CC3859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2145704"/>
        <c:axId val="421903920"/>
      </c:lineChart>
      <c:catAx>
        <c:axId val="421910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905096"/>
        <c:crosses val="autoZero"/>
        <c:auto val="1"/>
        <c:lblAlgn val="ctr"/>
        <c:lblOffset val="100"/>
        <c:noMultiLvlLbl val="0"/>
      </c:catAx>
      <c:valAx>
        <c:axId val="421905096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9589676290463697E-2"/>
              <c:y val="3.5400272566550442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910584"/>
        <c:crosses val="autoZero"/>
        <c:crossBetween val="between"/>
      </c:valAx>
      <c:valAx>
        <c:axId val="421903920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6331111111111112"/>
              <c:y val="3.61217722588646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2145704"/>
        <c:crosses val="max"/>
        <c:crossBetween val="between"/>
      </c:valAx>
      <c:catAx>
        <c:axId val="422145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1903920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Tier 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E$2:$E$15</c:f>
              <c:numCache>
                <c:formatCode>0.0%</c:formatCode>
                <c:ptCount val="14"/>
                <c:pt idx="0">
                  <c:v>2.0875661144504698</c:v>
                </c:pt>
                <c:pt idx="1">
                  <c:v>12.147491596374399</c:v>
                </c:pt>
                <c:pt idx="2">
                  <c:v>5.9677042456398297</c:v>
                </c:pt>
                <c:pt idx="3">
                  <c:v>41.623598593254101</c:v>
                </c:pt>
                <c:pt idx="4">
                  <c:v>3.12816633052199</c:v>
                </c:pt>
                <c:pt idx="5">
                  <c:v>6.1658699016869702</c:v>
                </c:pt>
                <c:pt idx="6">
                  <c:v>28.879603218072301</c:v>
                </c:pt>
                <c:pt idx="7">
                  <c:v>75.863556092287595</c:v>
                </c:pt>
                <c:pt idx="8">
                  <c:v>103.455372851249</c:v>
                </c:pt>
                <c:pt idx="9">
                  <c:v>238.938995557829</c:v>
                </c:pt>
                <c:pt idx="10">
                  <c:v>95.602432655426497</c:v>
                </c:pt>
                <c:pt idx="11">
                  <c:v>131.36452258728301</c:v>
                </c:pt>
                <c:pt idx="12">
                  <c:v>92.623704966510005</c:v>
                </c:pt>
                <c:pt idx="13">
                  <c:v>94.8972521797406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E2-4EE4-9D55-84A8AD85291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Tier 3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D$2:$D$15</c:f>
              <c:numCache>
                <c:formatCode>0.0%</c:formatCode>
                <c:ptCount val="14"/>
                <c:pt idx="0">
                  <c:v>1.7480495154390101</c:v>
                </c:pt>
                <c:pt idx="1">
                  <c:v>9.6789200178453605</c:v>
                </c:pt>
                <c:pt idx="2">
                  <c:v>6.4157982359727201</c:v>
                </c:pt>
                <c:pt idx="3">
                  <c:v>43.668384095740201</c:v>
                </c:pt>
                <c:pt idx="4">
                  <c:v>3.0314424978330701</c:v>
                </c:pt>
                <c:pt idx="5" formatCode="_ * #,##0_ ;_ * \-#,##0_ ;_ * &quot;-&quot;??_ ;_ @_ ">
                  <c:v>9.8799047419543804</c:v>
                </c:pt>
                <c:pt idx="6" formatCode="_ * #,##0_ ;_ * \-#,##0_ ;_ * &quot;-&quot;??_ ;_ @_ ">
                  <c:v>25.577500895215302</c:v>
                </c:pt>
                <c:pt idx="7" formatCode="_ * #,##0_ ;_ * \-#,##0_ ;_ * &quot;-&quot;??_ ;_ @_ ">
                  <c:v>65.186456011204001</c:v>
                </c:pt>
                <c:pt idx="8" formatCode="_ * #,##0_ ;_ * \-#,##0_ ;_ * &quot;-&quot;??_ ;_ @_ ">
                  <c:v>104.30451557086801</c:v>
                </c:pt>
                <c:pt idx="9" formatCode="_ * #,##0_ ;_ * \-#,##0_ ;_ * &quot;-&quot;??_ ;_ @_ ">
                  <c:v>147.33779269414299</c:v>
                </c:pt>
                <c:pt idx="10" formatCode="_ * #,##0_ ;_ * \-#,##0_ ;_ * &quot;-&quot;??_ ;_ @_ ">
                  <c:v>96.7444754458635</c:v>
                </c:pt>
                <c:pt idx="11" formatCode="_ * #,##0_ ;_ * \-#,##0_ ;_ * &quot;-&quot;??_ ;_ @_ ">
                  <c:v>107.46443077769</c:v>
                </c:pt>
                <c:pt idx="12" formatCode="_ * #,##0_ ;_ * \-#,##0_ ;_ * &quot;-&quot;??_ ;_ @_ ">
                  <c:v>108.255299902339</c:v>
                </c:pt>
                <c:pt idx="13" formatCode="_ * #,##0_ ;_ * \-#,##0_ ;_ * &quot;-&quot;??_ ;_ @_ ">
                  <c:v>96.1589255011385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E2-4EE4-9D55-84A8AD85291C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Tier 2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C$2:$C$15</c:f>
              <c:numCache>
                <c:formatCode>0.0%</c:formatCode>
                <c:ptCount val="14"/>
                <c:pt idx="0">
                  <c:v>3.9319342661604302</c:v>
                </c:pt>
                <c:pt idx="1">
                  <c:v>15.0722494826136</c:v>
                </c:pt>
                <c:pt idx="2">
                  <c:v>4.4240811159854303</c:v>
                </c:pt>
                <c:pt idx="3">
                  <c:v>42.3199406277555</c:v>
                </c:pt>
                <c:pt idx="4">
                  <c:v>3.6417406536496602</c:v>
                </c:pt>
                <c:pt idx="5">
                  <c:v>6.911906924218</c:v>
                </c:pt>
                <c:pt idx="6">
                  <c:v>23.698146929617302</c:v>
                </c:pt>
                <c:pt idx="7">
                  <c:v>92.360376586834903</c:v>
                </c:pt>
                <c:pt idx="8">
                  <c:v>123.65944569239301</c:v>
                </c:pt>
                <c:pt idx="9">
                  <c:v>129.29048276446201</c:v>
                </c:pt>
                <c:pt idx="10">
                  <c:v>94.935360413400005</c:v>
                </c:pt>
                <c:pt idx="11">
                  <c:v>134.444750898525</c:v>
                </c:pt>
                <c:pt idx="12">
                  <c:v>100.811923466376</c:v>
                </c:pt>
                <c:pt idx="13">
                  <c:v>91.1821345718750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E2-4EE4-9D55-84A8AD85291C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Tier 1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B$2:$B$15</c:f>
              <c:numCache>
                <c:formatCode>0.0%</c:formatCode>
                <c:ptCount val="14"/>
                <c:pt idx="0">
                  <c:v>6.8174146522530998</c:v>
                </c:pt>
                <c:pt idx="1">
                  <c:v>27.4100336174264</c:v>
                </c:pt>
                <c:pt idx="2">
                  <c:v>3.5426294782579699</c:v>
                </c:pt>
                <c:pt idx="3">
                  <c:v>46.362605588836303</c:v>
                </c:pt>
                <c:pt idx="4">
                  <c:v>5.54687607741816</c:v>
                </c:pt>
                <c:pt idx="5" formatCode="General">
                  <c:v>0.69584408984687496</c:v>
                </c:pt>
                <c:pt idx="6" formatCode="General">
                  <c:v>9.6245964959611996</c:v>
                </c:pt>
                <c:pt idx="7" formatCode="General">
                  <c:v>108.78319152469101</c:v>
                </c:pt>
                <c:pt idx="8" formatCode="General">
                  <c:v>103.590383504183</c:v>
                </c:pt>
                <c:pt idx="9" formatCode="General">
                  <c:v>129.09681307406899</c:v>
                </c:pt>
                <c:pt idx="10" formatCode="General">
                  <c:v>122.937646218776</c:v>
                </c:pt>
                <c:pt idx="11" formatCode="General">
                  <c:v>117.747672282352</c:v>
                </c:pt>
                <c:pt idx="12" formatCode="General">
                  <c:v>52.690453048761597</c:v>
                </c:pt>
                <c:pt idx="13" formatCode="General">
                  <c:v>46.305252112851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FE2-4EE4-9D55-84A8AD8529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22148840"/>
        <c:axId val="422141784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Tier 5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F$2:$F$15</c:f>
              <c:numCache>
                <c:formatCode>0.0</c:formatCode>
                <c:ptCount val="14"/>
                <c:pt idx="0">
                  <c:v>1.2583914107562899</c:v>
                </c:pt>
                <c:pt idx="1">
                  <c:v>8.03765873913229</c:v>
                </c:pt>
                <c:pt idx="2">
                  <c:v>6.1088588596018001</c:v>
                </c:pt>
                <c:pt idx="3">
                  <c:v>36.864545632897197</c:v>
                </c:pt>
                <c:pt idx="4">
                  <c:v>2.6830807485208199</c:v>
                </c:pt>
                <c:pt idx="5">
                  <c:v>9.65585853755905</c:v>
                </c:pt>
                <c:pt idx="6">
                  <c:v>35.3916060715325</c:v>
                </c:pt>
                <c:pt idx="7">
                  <c:v>70.158909041345794</c:v>
                </c:pt>
                <c:pt idx="8">
                  <c:v>101.158058942967</c:v>
                </c:pt>
                <c:pt idx="9">
                  <c:v>259.70954020121599</c:v>
                </c:pt>
                <c:pt idx="10">
                  <c:v>93.793426877558701</c:v>
                </c:pt>
                <c:pt idx="11">
                  <c:v>132.938200064988</c:v>
                </c:pt>
                <c:pt idx="12">
                  <c:v>98.489296940327904</c:v>
                </c:pt>
                <c:pt idx="13">
                  <c:v>96.219114991638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FE2-4EE4-9D55-84A8AD85291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列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G$2:$G$15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FE2-4EE4-9D55-84A8AD85291C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列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15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H$2:$H$15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FE2-4EE4-9D55-84A8AD8529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756440"/>
        <c:axId val="521756048"/>
      </c:lineChart>
      <c:catAx>
        <c:axId val="422148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2141784"/>
        <c:crosses val="autoZero"/>
        <c:auto val="1"/>
        <c:lblAlgn val="ctr"/>
        <c:lblOffset val="100"/>
        <c:noMultiLvlLbl val="0"/>
      </c:catAx>
      <c:valAx>
        <c:axId val="422141784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9589676290463697E-2"/>
              <c:y val="3.5400272566550442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2148840"/>
        <c:crosses val="autoZero"/>
        <c:crossBetween val="between"/>
      </c:valAx>
      <c:valAx>
        <c:axId val="521756048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6331111111111112"/>
              <c:y val="3.61217722588646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1756440"/>
        <c:crosses val="max"/>
        <c:crossBetween val="between"/>
      </c:valAx>
      <c:catAx>
        <c:axId val="5217564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1756048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上海市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17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E$2:$E$17</c:f>
              <c:numCache>
                <c:formatCode>0.0%</c:formatCode>
                <c:ptCount val="16"/>
                <c:pt idx="0">
                  <c:v>10.2309357840264</c:v>
                </c:pt>
                <c:pt idx="1">
                  <c:v>42.5971035374953</c:v>
                </c:pt>
                <c:pt idx="2">
                  <c:v>0.65264966225050902</c:v>
                </c:pt>
                <c:pt idx="3">
                  <c:v>16.257963174005202</c:v>
                </c:pt>
                <c:pt idx="4">
                  <c:v>18.3673013547205</c:v>
                </c:pt>
                <c:pt idx="6">
                  <c:v>11.8940464875021</c:v>
                </c:pt>
                <c:pt idx="7">
                  <c:v>262.542205886006</c:v>
                </c:pt>
                <c:pt idx="8">
                  <c:v>140.76062763328</c:v>
                </c:pt>
                <c:pt idx="9">
                  <c:v>20.854286072167799</c:v>
                </c:pt>
                <c:pt idx="10">
                  <c:v>47.730975976486903</c:v>
                </c:pt>
                <c:pt idx="11">
                  <c:v>131.47379103236</c:v>
                </c:pt>
                <c:pt idx="13">
                  <c:v>81.567141931251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C9-4DAF-A534-A3B6A4705BA0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杭州市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D$2:$D$17</c:f>
              <c:numCache>
                <c:formatCode>0.0%</c:formatCode>
                <c:ptCount val="16"/>
                <c:pt idx="0">
                  <c:v>7.5243846041275999</c:v>
                </c:pt>
                <c:pt idx="1">
                  <c:v>17.9883705137233</c:v>
                </c:pt>
                <c:pt idx="3">
                  <c:v>39.461463517700601</c:v>
                </c:pt>
                <c:pt idx="4">
                  <c:v>16.851241878348102</c:v>
                </c:pt>
                <c:pt idx="5">
                  <c:v>1.7312477366705299</c:v>
                </c:pt>
                <c:pt idx="6">
                  <c:v>16.4432917494299</c:v>
                </c:pt>
                <c:pt idx="7">
                  <c:v>105.34159407660999</c:v>
                </c:pt>
                <c:pt idx="8">
                  <c:v>73.754452126034906</c:v>
                </c:pt>
                <c:pt idx="10">
                  <c:v>114.030349651254</c:v>
                </c:pt>
                <c:pt idx="11">
                  <c:v>93.161960603920903</c:v>
                </c:pt>
                <c:pt idx="12">
                  <c:v>141.07479196635899</c:v>
                </c:pt>
                <c:pt idx="13">
                  <c:v>113.041727817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C9-4DAF-A534-A3B6A4705BA0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广州市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C$2:$C$17</c:f>
              <c:numCache>
                <c:formatCode>0.0%</c:formatCode>
                <c:ptCount val="16"/>
                <c:pt idx="0">
                  <c:v>10.501002103795599</c:v>
                </c:pt>
                <c:pt idx="1">
                  <c:v>52.255882933852497</c:v>
                </c:pt>
                <c:pt idx="2">
                  <c:v>1.01638738398109</c:v>
                </c:pt>
                <c:pt idx="3">
                  <c:v>7.35693847346589</c:v>
                </c:pt>
                <c:pt idx="4">
                  <c:v>22.563262654169201</c:v>
                </c:pt>
                <c:pt idx="6">
                  <c:v>6.3065264507356904</c:v>
                </c:pt>
                <c:pt idx="7">
                  <c:v>156.17668435847199</c:v>
                </c:pt>
                <c:pt idx="8">
                  <c:v>121.22425520139601</c:v>
                </c:pt>
                <c:pt idx="9">
                  <c:v>384.61442755241302</c:v>
                </c:pt>
                <c:pt idx="10">
                  <c:v>28.087593540960299</c:v>
                </c:pt>
                <c:pt idx="11">
                  <c:v>129.902036991496</c:v>
                </c:pt>
                <c:pt idx="13">
                  <c:v>99.4270302825777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C9-4DAF-A534-A3B6A4705BA0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北京市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6.1945378600550898</c:v>
                </c:pt>
                <c:pt idx="1">
                  <c:v>48.280914578033197</c:v>
                </c:pt>
                <c:pt idx="2">
                  <c:v>5.5402893372595203</c:v>
                </c:pt>
                <c:pt idx="3">
                  <c:v>7.4926815360252599</c:v>
                </c:pt>
                <c:pt idx="4">
                  <c:v>23.3724860323948</c:v>
                </c:pt>
                <c:pt idx="6">
                  <c:v>9.1190906562321192</c:v>
                </c:pt>
                <c:pt idx="7">
                  <c:v>138.38678672325801</c:v>
                </c:pt>
                <c:pt idx="8">
                  <c:v>119.74465110840799</c:v>
                </c:pt>
                <c:pt idx="9">
                  <c:v>320.31929610221903</c:v>
                </c:pt>
                <c:pt idx="10">
                  <c:v>25.6355426417045</c:v>
                </c:pt>
                <c:pt idx="11">
                  <c:v>135.45555477538699</c:v>
                </c:pt>
                <c:pt idx="13">
                  <c:v>130.42534815885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4C9-4DAF-A534-A3B6A4705B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17569576"/>
        <c:axId val="417560560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深圳市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17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F$2:$F$17</c:f>
              <c:numCache>
                <c:formatCode>0</c:formatCode>
                <c:ptCount val="16"/>
                <c:pt idx="0">
                  <c:v>13.1255662737119</c:v>
                </c:pt>
                <c:pt idx="1">
                  <c:v>48.676069375782902</c:v>
                </c:pt>
                <c:pt idx="3">
                  <c:v>12.6440132296946</c:v>
                </c:pt>
                <c:pt idx="4">
                  <c:v>21.238467524737601</c:v>
                </c:pt>
                <c:pt idx="6">
                  <c:v>4.3158835960729904</c:v>
                </c:pt>
                <c:pt idx="7">
                  <c:v>141.994302358326</c:v>
                </c:pt>
                <c:pt idx="8">
                  <c:v>128.734345086292</c:v>
                </c:pt>
                <c:pt idx="10">
                  <c:v>240.505761528525</c:v>
                </c:pt>
                <c:pt idx="11">
                  <c:v>90.903459144650299</c:v>
                </c:pt>
                <c:pt idx="13">
                  <c:v>17.743315367057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C9-4DAF-A534-A3B6A4705BA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天津市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17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G$2:$G$17</c:f>
              <c:numCache>
                <c:formatCode>0</c:formatCode>
                <c:ptCount val="16"/>
                <c:pt idx="0">
                  <c:v>6.7640230038642102</c:v>
                </c:pt>
                <c:pt idx="1">
                  <c:v>39.204411800162902</c:v>
                </c:pt>
                <c:pt idx="2">
                  <c:v>7.0963605393575699E-2</c:v>
                </c:pt>
                <c:pt idx="3">
                  <c:v>22.021085488603099</c:v>
                </c:pt>
                <c:pt idx="4">
                  <c:v>19.981194749917101</c:v>
                </c:pt>
                <c:pt idx="5">
                  <c:v>0.19998741884616</c:v>
                </c:pt>
                <c:pt idx="6">
                  <c:v>11.758333933212899</c:v>
                </c:pt>
                <c:pt idx="7">
                  <c:v>104.32961025333699</c:v>
                </c:pt>
                <c:pt idx="8">
                  <c:v>113.262295888274</c:v>
                </c:pt>
                <c:pt idx="9">
                  <c:v>102.54646837496399</c:v>
                </c:pt>
                <c:pt idx="10">
                  <c:v>94.401959032769795</c:v>
                </c:pt>
                <c:pt idx="11">
                  <c:v>125.275766627959</c:v>
                </c:pt>
                <c:pt idx="12">
                  <c:v>2.1955501841535399</c:v>
                </c:pt>
                <c:pt idx="13">
                  <c:v>112.5394603716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4C9-4DAF-A534-A3B6A4705BA0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列1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17</c:f>
              <c:strCache>
                <c:ptCount val="14"/>
                <c:pt idx="0">
                  <c:v>Share _ Internal Product : SEBIVO</c:v>
                </c:pt>
                <c:pt idx="1">
                  <c:v>Share _ Competitor : BARACLUDE</c:v>
                </c:pt>
                <c:pt idx="2">
                  <c:v>Share _ Competitor : EGD</c:v>
                </c:pt>
                <c:pt idx="3">
                  <c:v>Share _ Competitor : TIAN DING</c:v>
                </c:pt>
                <c:pt idx="4">
                  <c:v>Share _ Competitor : VIREAD</c:v>
                </c:pt>
                <c:pt idx="5">
                  <c:v>Share _ Competitor : WEI LI QING</c:v>
                </c:pt>
                <c:pt idx="6">
                  <c:v>Share _ Competitor : Others</c:v>
                </c:pt>
                <c:pt idx="7">
                  <c:v>EI _ Internal Product : SEBIVO</c:v>
                </c:pt>
                <c:pt idx="8">
                  <c:v>EI _ Competitor : BARACLUDE</c:v>
                </c:pt>
                <c:pt idx="9">
                  <c:v>EI _ Competitor : EGD</c:v>
                </c:pt>
                <c:pt idx="10">
                  <c:v>EI _ Competitor : TIAN DING</c:v>
                </c:pt>
                <c:pt idx="11">
                  <c:v>EI _ Competitor : VIREAD</c:v>
                </c:pt>
                <c:pt idx="12">
                  <c:v>EI _ Competitor : WEI LI QING</c:v>
                </c:pt>
                <c:pt idx="13">
                  <c:v>EI _ Competitor : Others</c:v>
                </c:pt>
              </c:strCache>
            </c:strRef>
          </c:cat>
          <c:val>
            <c:numRef>
              <c:f>Sheet1!$H$2:$H$17</c:f>
              <c:numCache>
                <c:formatCode>General</c:formatCode>
                <c:ptCount val="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4C9-4DAF-A534-A3B6A4705B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566440"/>
        <c:axId val="417563696"/>
      </c:lineChart>
      <c:catAx>
        <c:axId val="417569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0560"/>
        <c:crosses val="autoZero"/>
        <c:auto val="1"/>
        <c:lblAlgn val="ctr"/>
        <c:lblOffset val="100"/>
        <c:noMultiLvlLbl val="0"/>
      </c:catAx>
      <c:valAx>
        <c:axId val="417560560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9576"/>
        <c:crosses val="autoZero"/>
        <c:crossBetween val="between"/>
      </c:valAx>
      <c:valAx>
        <c:axId val="41756369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6440"/>
        <c:crosses val="max"/>
        <c:crossBetween val="between"/>
      </c:valAx>
      <c:catAx>
        <c:axId val="4175664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756369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E$2:$E$17</c:f>
              <c:numCache>
                <c:formatCode>0.0%</c:formatCode>
                <c:ptCount val="16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  <c:pt idx="6">
                  <c:v>0.81</c:v>
                </c:pt>
                <c:pt idx="7">
                  <c:v>0.81</c:v>
                </c:pt>
                <c:pt idx="8">
                  <c:v>0.81</c:v>
                </c:pt>
                <c:pt idx="9">
                  <c:v>0.81</c:v>
                </c:pt>
                <c:pt idx="10">
                  <c:v>0.81</c:v>
                </c:pt>
                <c:pt idx="11">
                  <c:v>0.81</c:v>
                </c:pt>
                <c:pt idx="12">
                  <c:v>0.81</c:v>
                </c:pt>
                <c:pt idx="13">
                  <c:v>0.81</c:v>
                </c:pt>
                <c:pt idx="14">
                  <c:v>0.81</c:v>
                </c:pt>
                <c:pt idx="15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61-4981-9012-34C4C48D9E75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D$2:$D$17</c:f>
              <c:numCache>
                <c:formatCode>0.0%</c:formatCode>
                <c:ptCount val="16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  <c:pt idx="6">
                  <c:v>0.06</c:v>
                </c:pt>
                <c:pt idx="7">
                  <c:v>0.06</c:v>
                </c:pt>
                <c:pt idx="8">
                  <c:v>0.06</c:v>
                </c:pt>
                <c:pt idx="9">
                  <c:v>0.06</c:v>
                </c:pt>
                <c:pt idx="10">
                  <c:v>0.06</c:v>
                </c:pt>
                <c:pt idx="11">
                  <c:v>0.06</c:v>
                </c:pt>
                <c:pt idx="12">
                  <c:v>0.06</c:v>
                </c:pt>
                <c:pt idx="13">
                  <c:v>0.06</c:v>
                </c:pt>
                <c:pt idx="14">
                  <c:v>0.06</c:v>
                </c:pt>
                <c:pt idx="15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61-4981-9012-34C4C48D9E75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C$2:$C$17</c:f>
              <c:numCache>
                <c:formatCode>0.0%</c:formatCode>
                <c:ptCount val="16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  <c:pt idx="6">
                  <c:v>0.08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8</c:v>
                </c:pt>
                <c:pt idx="11">
                  <c:v>0.08</c:v>
                </c:pt>
                <c:pt idx="12">
                  <c:v>0.08</c:v>
                </c:pt>
                <c:pt idx="13">
                  <c:v>0.08</c:v>
                </c:pt>
                <c:pt idx="14">
                  <c:v>0.08</c:v>
                </c:pt>
                <c:pt idx="15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161-4981-9012-34C4C48D9E75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6">
                  <c:v>0.05</c:v>
                </c:pt>
                <c:pt idx="7">
                  <c:v>0.05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161-4981-9012-34C4C48D9E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17564480"/>
        <c:axId val="417560952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F$2:$F$17</c:f>
              <c:numCache>
                <c:formatCode>0</c:formatCode>
                <c:ptCount val="16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  <c:pt idx="6">
                  <c:v>101</c:v>
                </c:pt>
                <c:pt idx="7">
                  <c:v>102</c:v>
                </c:pt>
                <c:pt idx="8">
                  <c:v>103</c:v>
                </c:pt>
                <c:pt idx="9">
                  <c:v>104</c:v>
                </c:pt>
                <c:pt idx="10">
                  <c:v>100</c:v>
                </c:pt>
                <c:pt idx="11">
                  <c:v>101</c:v>
                </c:pt>
                <c:pt idx="12">
                  <c:v>102</c:v>
                </c:pt>
                <c:pt idx="13">
                  <c:v>103</c:v>
                </c:pt>
                <c:pt idx="14">
                  <c:v>104</c:v>
                </c:pt>
                <c:pt idx="15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61-4981-9012-34C4C48D9E7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G$2:$G$17</c:f>
              <c:numCache>
                <c:formatCode>0</c:formatCode>
                <c:ptCount val="16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95</c:v>
                </c:pt>
                <c:pt idx="11">
                  <c:v>96</c:v>
                </c:pt>
                <c:pt idx="12">
                  <c:v>97</c:v>
                </c:pt>
                <c:pt idx="13">
                  <c:v>98</c:v>
                </c:pt>
                <c:pt idx="14">
                  <c:v>99</c:v>
                </c:pt>
                <c:pt idx="15">
                  <c:v>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161-4981-9012-34C4C48D9E75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H$2:$H$17</c:f>
              <c:numCache>
                <c:formatCode>0</c:formatCode>
                <c:ptCount val="16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  <c:pt idx="12">
                  <c:v>90</c:v>
                </c:pt>
                <c:pt idx="13">
                  <c:v>90</c:v>
                </c:pt>
                <c:pt idx="14">
                  <c:v>90</c:v>
                </c:pt>
                <c:pt idx="15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161-4981-9012-34C4C48D9E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570360"/>
        <c:axId val="417567616"/>
      </c:lineChart>
      <c:catAx>
        <c:axId val="41756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0952"/>
        <c:crosses val="autoZero"/>
        <c:auto val="1"/>
        <c:lblAlgn val="ctr"/>
        <c:lblOffset val="100"/>
        <c:noMultiLvlLbl val="0"/>
      </c:catAx>
      <c:valAx>
        <c:axId val="417560952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4480"/>
        <c:crosses val="autoZero"/>
        <c:crossBetween val="between"/>
      </c:valAx>
      <c:valAx>
        <c:axId val="41756761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70360"/>
        <c:crosses val="max"/>
        <c:crossBetween val="between"/>
      </c:valAx>
      <c:catAx>
        <c:axId val="4175703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756761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E$2:$E$28</c:f>
              <c:numCache>
                <c:formatCode>0.0%</c:formatCode>
                <c:ptCount val="27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  <c:pt idx="5">
                  <c:v>0.81</c:v>
                </c:pt>
                <c:pt idx="6">
                  <c:v>0.81</c:v>
                </c:pt>
                <c:pt idx="7">
                  <c:v>0.81</c:v>
                </c:pt>
                <c:pt idx="8">
                  <c:v>0.81</c:v>
                </c:pt>
                <c:pt idx="9">
                  <c:v>0.81</c:v>
                </c:pt>
                <c:pt idx="10">
                  <c:v>0.81</c:v>
                </c:pt>
                <c:pt idx="11">
                  <c:v>0.81</c:v>
                </c:pt>
                <c:pt idx="12">
                  <c:v>0.81</c:v>
                </c:pt>
                <c:pt idx="13">
                  <c:v>0.81</c:v>
                </c:pt>
                <c:pt idx="14">
                  <c:v>0.81</c:v>
                </c:pt>
                <c:pt idx="15">
                  <c:v>0.81</c:v>
                </c:pt>
                <c:pt idx="16">
                  <c:v>0.81</c:v>
                </c:pt>
                <c:pt idx="17">
                  <c:v>0.81</c:v>
                </c:pt>
                <c:pt idx="18">
                  <c:v>0.81</c:v>
                </c:pt>
                <c:pt idx="19">
                  <c:v>0.81</c:v>
                </c:pt>
                <c:pt idx="20">
                  <c:v>0.81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81</c:v>
                </c:pt>
                <c:pt idx="25">
                  <c:v>0.81</c:v>
                </c:pt>
                <c:pt idx="26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49-4274-8AF5-3682C97A5FF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D$2:$D$28</c:f>
              <c:numCache>
                <c:formatCode>0.0%</c:formatCode>
                <c:ptCount val="27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  <c:pt idx="5">
                  <c:v>0.06</c:v>
                </c:pt>
                <c:pt idx="6">
                  <c:v>0.06</c:v>
                </c:pt>
                <c:pt idx="7">
                  <c:v>0.06</c:v>
                </c:pt>
                <c:pt idx="8">
                  <c:v>0.06</c:v>
                </c:pt>
                <c:pt idx="9">
                  <c:v>0.06</c:v>
                </c:pt>
                <c:pt idx="10">
                  <c:v>0.06</c:v>
                </c:pt>
                <c:pt idx="11">
                  <c:v>0.06</c:v>
                </c:pt>
                <c:pt idx="12">
                  <c:v>0.06</c:v>
                </c:pt>
                <c:pt idx="13">
                  <c:v>0.06</c:v>
                </c:pt>
                <c:pt idx="14">
                  <c:v>0.06</c:v>
                </c:pt>
                <c:pt idx="15">
                  <c:v>0.06</c:v>
                </c:pt>
                <c:pt idx="16">
                  <c:v>0.06</c:v>
                </c:pt>
                <c:pt idx="17">
                  <c:v>0.06</c:v>
                </c:pt>
                <c:pt idx="18">
                  <c:v>0.06</c:v>
                </c:pt>
                <c:pt idx="19">
                  <c:v>0.06</c:v>
                </c:pt>
                <c:pt idx="20">
                  <c:v>0.06</c:v>
                </c:pt>
                <c:pt idx="21">
                  <c:v>0.06</c:v>
                </c:pt>
                <c:pt idx="22">
                  <c:v>0.06</c:v>
                </c:pt>
                <c:pt idx="23">
                  <c:v>0.06</c:v>
                </c:pt>
                <c:pt idx="24">
                  <c:v>0.06</c:v>
                </c:pt>
                <c:pt idx="25">
                  <c:v>0.06</c:v>
                </c:pt>
                <c:pt idx="26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49-4274-8AF5-3682C97A5FFF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C$2:$C$28</c:f>
              <c:numCache>
                <c:formatCode>0.0%</c:formatCode>
                <c:ptCount val="27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  <c:pt idx="5">
                  <c:v>0.08</c:v>
                </c:pt>
                <c:pt idx="6">
                  <c:v>0.08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8</c:v>
                </c:pt>
                <c:pt idx="11">
                  <c:v>0.08</c:v>
                </c:pt>
                <c:pt idx="12">
                  <c:v>0.08</c:v>
                </c:pt>
                <c:pt idx="13">
                  <c:v>0.08</c:v>
                </c:pt>
                <c:pt idx="14">
                  <c:v>0.08</c:v>
                </c:pt>
                <c:pt idx="15">
                  <c:v>0.08</c:v>
                </c:pt>
                <c:pt idx="16">
                  <c:v>0.08</c:v>
                </c:pt>
                <c:pt idx="17">
                  <c:v>0.08</c:v>
                </c:pt>
                <c:pt idx="18">
                  <c:v>0.08</c:v>
                </c:pt>
                <c:pt idx="19">
                  <c:v>0.08</c:v>
                </c:pt>
                <c:pt idx="20">
                  <c:v>0.08</c:v>
                </c:pt>
                <c:pt idx="21">
                  <c:v>0.08</c:v>
                </c:pt>
                <c:pt idx="22">
                  <c:v>0.08</c:v>
                </c:pt>
                <c:pt idx="23">
                  <c:v>0.08</c:v>
                </c:pt>
                <c:pt idx="24">
                  <c:v>0.08</c:v>
                </c:pt>
                <c:pt idx="25">
                  <c:v>0.08</c:v>
                </c:pt>
                <c:pt idx="26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49-4274-8AF5-3682C97A5FFF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B$2:$B$28</c:f>
              <c:numCache>
                <c:formatCode>0.0%</c:formatCode>
                <c:ptCount val="27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  <c:pt idx="7">
                  <c:v>0.05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  <c:pt idx="16">
                  <c:v>0.05</c:v>
                </c:pt>
                <c:pt idx="17">
                  <c:v>0.05</c:v>
                </c:pt>
                <c:pt idx="18">
                  <c:v>0.05</c:v>
                </c:pt>
                <c:pt idx="19">
                  <c:v>0.05</c:v>
                </c:pt>
                <c:pt idx="20">
                  <c:v>0.05</c:v>
                </c:pt>
                <c:pt idx="21">
                  <c:v>0.05</c:v>
                </c:pt>
                <c:pt idx="22">
                  <c:v>0.05</c:v>
                </c:pt>
                <c:pt idx="23">
                  <c:v>0.05</c:v>
                </c:pt>
                <c:pt idx="24">
                  <c:v>0.05</c:v>
                </c:pt>
                <c:pt idx="25">
                  <c:v>0.05</c:v>
                </c:pt>
                <c:pt idx="26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49-4274-8AF5-3682C97A5F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17570752"/>
        <c:axId val="417561344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F$2:$F$28</c:f>
              <c:numCache>
                <c:formatCode>0</c:formatCode>
                <c:ptCount val="27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  <c:pt idx="5">
                  <c:v>100</c:v>
                </c:pt>
                <c:pt idx="6">
                  <c:v>101</c:v>
                </c:pt>
                <c:pt idx="7">
                  <c:v>102</c:v>
                </c:pt>
                <c:pt idx="8">
                  <c:v>103</c:v>
                </c:pt>
                <c:pt idx="9">
                  <c:v>104</c:v>
                </c:pt>
                <c:pt idx="10">
                  <c:v>100</c:v>
                </c:pt>
                <c:pt idx="11">
                  <c:v>101</c:v>
                </c:pt>
                <c:pt idx="12">
                  <c:v>102</c:v>
                </c:pt>
                <c:pt idx="13">
                  <c:v>103</c:v>
                </c:pt>
                <c:pt idx="14">
                  <c:v>104</c:v>
                </c:pt>
                <c:pt idx="15">
                  <c:v>100</c:v>
                </c:pt>
                <c:pt idx="16">
                  <c:v>101</c:v>
                </c:pt>
                <c:pt idx="17">
                  <c:v>102</c:v>
                </c:pt>
                <c:pt idx="18">
                  <c:v>103</c:v>
                </c:pt>
                <c:pt idx="19">
                  <c:v>104</c:v>
                </c:pt>
                <c:pt idx="20">
                  <c:v>100</c:v>
                </c:pt>
                <c:pt idx="21">
                  <c:v>101</c:v>
                </c:pt>
                <c:pt idx="22">
                  <c:v>102</c:v>
                </c:pt>
                <c:pt idx="23">
                  <c:v>103</c:v>
                </c:pt>
                <c:pt idx="24">
                  <c:v>104</c:v>
                </c:pt>
                <c:pt idx="25">
                  <c:v>100</c:v>
                </c:pt>
                <c:pt idx="26">
                  <c:v>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849-4274-8AF5-3682C97A5FF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G$2:$G$28</c:f>
              <c:numCache>
                <c:formatCode>0</c:formatCode>
                <c:ptCount val="27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95</c:v>
                </c:pt>
                <c:pt idx="11">
                  <c:v>96</c:v>
                </c:pt>
                <c:pt idx="12">
                  <c:v>97</c:v>
                </c:pt>
                <c:pt idx="13">
                  <c:v>98</c:v>
                </c:pt>
                <c:pt idx="14">
                  <c:v>99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95</c:v>
                </c:pt>
                <c:pt idx="21">
                  <c:v>96</c:v>
                </c:pt>
                <c:pt idx="22">
                  <c:v>97</c:v>
                </c:pt>
                <c:pt idx="23">
                  <c:v>98</c:v>
                </c:pt>
                <c:pt idx="24">
                  <c:v>99</c:v>
                </c:pt>
                <c:pt idx="25">
                  <c:v>95</c:v>
                </c:pt>
                <c:pt idx="26">
                  <c:v>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849-4274-8AF5-3682C97A5FFF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H$2:$H$28</c:f>
              <c:numCache>
                <c:formatCode>0</c:formatCode>
                <c:ptCount val="27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5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  <c:pt idx="12">
                  <c:v>90</c:v>
                </c:pt>
                <c:pt idx="13">
                  <c:v>90</c:v>
                </c:pt>
                <c:pt idx="14">
                  <c:v>90</c:v>
                </c:pt>
                <c:pt idx="15">
                  <c:v>90</c:v>
                </c:pt>
                <c:pt idx="16">
                  <c:v>90</c:v>
                </c:pt>
                <c:pt idx="17">
                  <c:v>90</c:v>
                </c:pt>
                <c:pt idx="18">
                  <c:v>90</c:v>
                </c:pt>
                <c:pt idx="19">
                  <c:v>90</c:v>
                </c:pt>
                <c:pt idx="20">
                  <c:v>90</c:v>
                </c:pt>
                <c:pt idx="21">
                  <c:v>90</c:v>
                </c:pt>
                <c:pt idx="22">
                  <c:v>90</c:v>
                </c:pt>
                <c:pt idx="23">
                  <c:v>90</c:v>
                </c:pt>
                <c:pt idx="24">
                  <c:v>90</c:v>
                </c:pt>
                <c:pt idx="25">
                  <c:v>90</c:v>
                </c:pt>
                <c:pt idx="26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849-4274-8AF5-3682C97A5F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568400"/>
        <c:axId val="417558600"/>
      </c:lineChart>
      <c:catAx>
        <c:axId val="41757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1344"/>
        <c:crosses val="autoZero"/>
        <c:auto val="1"/>
        <c:lblAlgn val="ctr"/>
        <c:lblOffset val="100"/>
        <c:noMultiLvlLbl val="0"/>
      </c:catAx>
      <c:valAx>
        <c:axId val="417561344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70752"/>
        <c:crosses val="autoZero"/>
        <c:crossBetween val="between"/>
      </c:valAx>
      <c:valAx>
        <c:axId val="417558600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8400"/>
        <c:crosses val="max"/>
        <c:crossBetween val="between"/>
      </c:valAx>
      <c:catAx>
        <c:axId val="4175684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7558600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E$2:$E$28</c:f>
              <c:numCache>
                <c:formatCode>0.0%</c:formatCode>
                <c:ptCount val="27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  <c:pt idx="5">
                  <c:v>0.81</c:v>
                </c:pt>
                <c:pt idx="6">
                  <c:v>0.81</c:v>
                </c:pt>
                <c:pt idx="7">
                  <c:v>0.81</c:v>
                </c:pt>
                <c:pt idx="8">
                  <c:v>0.81</c:v>
                </c:pt>
                <c:pt idx="9">
                  <c:v>0.81</c:v>
                </c:pt>
                <c:pt idx="10">
                  <c:v>0.81</c:v>
                </c:pt>
                <c:pt idx="11">
                  <c:v>0.81</c:v>
                </c:pt>
                <c:pt idx="12">
                  <c:v>0.81</c:v>
                </c:pt>
                <c:pt idx="13">
                  <c:v>0.81</c:v>
                </c:pt>
                <c:pt idx="14">
                  <c:v>0.81</c:v>
                </c:pt>
                <c:pt idx="15">
                  <c:v>0.81</c:v>
                </c:pt>
                <c:pt idx="16">
                  <c:v>0.81</c:v>
                </c:pt>
                <c:pt idx="17">
                  <c:v>0.81</c:v>
                </c:pt>
                <c:pt idx="18">
                  <c:v>0.81</c:v>
                </c:pt>
                <c:pt idx="19">
                  <c:v>0.81</c:v>
                </c:pt>
                <c:pt idx="20">
                  <c:v>0.81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81</c:v>
                </c:pt>
                <c:pt idx="25">
                  <c:v>0.81</c:v>
                </c:pt>
                <c:pt idx="26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7-4B3D-99B7-BBC89CD75A4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D$2:$D$28</c:f>
              <c:numCache>
                <c:formatCode>0.0%</c:formatCode>
                <c:ptCount val="27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  <c:pt idx="5">
                  <c:v>0.06</c:v>
                </c:pt>
                <c:pt idx="6">
                  <c:v>0.06</c:v>
                </c:pt>
                <c:pt idx="7">
                  <c:v>0.06</c:v>
                </c:pt>
                <c:pt idx="8">
                  <c:v>0.06</c:v>
                </c:pt>
                <c:pt idx="9">
                  <c:v>0.06</c:v>
                </c:pt>
                <c:pt idx="10">
                  <c:v>0.06</c:v>
                </c:pt>
                <c:pt idx="11">
                  <c:v>0.06</c:v>
                </c:pt>
                <c:pt idx="12">
                  <c:v>0.06</c:v>
                </c:pt>
                <c:pt idx="13">
                  <c:v>0.06</c:v>
                </c:pt>
                <c:pt idx="14">
                  <c:v>0.06</c:v>
                </c:pt>
                <c:pt idx="15">
                  <c:v>0.06</c:v>
                </c:pt>
                <c:pt idx="16">
                  <c:v>0.06</c:v>
                </c:pt>
                <c:pt idx="17">
                  <c:v>0.06</c:v>
                </c:pt>
                <c:pt idx="18">
                  <c:v>0.06</c:v>
                </c:pt>
                <c:pt idx="19">
                  <c:v>0.06</c:v>
                </c:pt>
                <c:pt idx="20">
                  <c:v>0.06</c:v>
                </c:pt>
                <c:pt idx="21">
                  <c:v>0.06</c:v>
                </c:pt>
                <c:pt idx="22">
                  <c:v>0.06</c:v>
                </c:pt>
                <c:pt idx="23">
                  <c:v>0.06</c:v>
                </c:pt>
                <c:pt idx="24">
                  <c:v>0.06</c:v>
                </c:pt>
                <c:pt idx="25">
                  <c:v>0.06</c:v>
                </c:pt>
                <c:pt idx="26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77-4B3D-99B7-BBC89CD75A4C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C$2:$C$28</c:f>
              <c:numCache>
                <c:formatCode>0.0%</c:formatCode>
                <c:ptCount val="27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  <c:pt idx="5">
                  <c:v>0.08</c:v>
                </c:pt>
                <c:pt idx="6">
                  <c:v>0.08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8</c:v>
                </c:pt>
                <c:pt idx="11">
                  <c:v>0.08</c:v>
                </c:pt>
                <c:pt idx="12">
                  <c:v>0.08</c:v>
                </c:pt>
                <c:pt idx="13">
                  <c:v>0.08</c:v>
                </c:pt>
                <c:pt idx="14">
                  <c:v>0.08</c:v>
                </c:pt>
                <c:pt idx="15">
                  <c:v>0.08</c:v>
                </c:pt>
                <c:pt idx="16">
                  <c:v>0.08</c:v>
                </c:pt>
                <c:pt idx="17">
                  <c:v>0.08</c:v>
                </c:pt>
                <c:pt idx="18">
                  <c:v>0.08</c:v>
                </c:pt>
                <c:pt idx="19">
                  <c:v>0.08</c:v>
                </c:pt>
                <c:pt idx="20">
                  <c:v>0.08</c:v>
                </c:pt>
                <c:pt idx="21">
                  <c:v>0.08</c:v>
                </c:pt>
                <c:pt idx="22">
                  <c:v>0.08</c:v>
                </c:pt>
                <c:pt idx="23">
                  <c:v>0.08</c:v>
                </c:pt>
                <c:pt idx="24">
                  <c:v>0.08</c:v>
                </c:pt>
                <c:pt idx="25">
                  <c:v>0.08</c:v>
                </c:pt>
                <c:pt idx="26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77-4B3D-99B7-BBC89CD75A4C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B$2:$B$28</c:f>
              <c:numCache>
                <c:formatCode>0.0%</c:formatCode>
                <c:ptCount val="27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  <c:pt idx="7">
                  <c:v>0.05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  <c:pt idx="16">
                  <c:v>0.05</c:v>
                </c:pt>
                <c:pt idx="17">
                  <c:v>0.05</c:v>
                </c:pt>
                <c:pt idx="18">
                  <c:v>0.05</c:v>
                </c:pt>
                <c:pt idx="19">
                  <c:v>0.05</c:v>
                </c:pt>
                <c:pt idx="20">
                  <c:v>0.05</c:v>
                </c:pt>
                <c:pt idx="21">
                  <c:v>0.05</c:v>
                </c:pt>
                <c:pt idx="22">
                  <c:v>0.05</c:v>
                </c:pt>
                <c:pt idx="23">
                  <c:v>0.05</c:v>
                </c:pt>
                <c:pt idx="24">
                  <c:v>0.05</c:v>
                </c:pt>
                <c:pt idx="25">
                  <c:v>0.05</c:v>
                </c:pt>
                <c:pt idx="26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077-4B3D-99B7-BBC89CD75A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17573888"/>
        <c:axId val="417573496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F$2:$F$28</c:f>
              <c:numCache>
                <c:formatCode>0</c:formatCode>
                <c:ptCount val="27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  <c:pt idx="5">
                  <c:v>100</c:v>
                </c:pt>
                <c:pt idx="6">
                  <c:v>101</c:v>
                </c:pt>
                <c:pt idx="7">
                  <c:v>102</c:v>
                </c:pt>
                <c:pt idx="8">
                  <c:v>103</c:v>
                </c:pt>
                <c:pt idx="9">
                  <c:v>104</c:v>
                </c:pt>
                <c:pt idx="10">
                  <c:v>100</c:v>
                </c:pt>
                <c:pt idx="11">
                  <c:v>101</c:v>
                </c:pt>
                <c:pt idx="12">
                  <c:v>102</c:v>
                </c:pt>
                <c:pt idx="13">
                  <c:v>103</c:v>
                </c:pt>
                <c:pt idx="14">
                  <c:v>104</c:v>
                </c:pt>
                <c:pt idx="15">
                  <c:v>100</c:v>
                </c:pt>
                <c:pt idx="16">
                  <c:v>101</c:v>
                </c:pt>
                <c:pt idx="17">
                  <c:v>102</c:v>
                </c:pt>
                <c:pt idx="18">
                  <c:v>103</c:v>
                </c:pt>
                <c:pt idx="19">
                  <c:v>104</c:v>
                </c:pt>
                <c:pt idx="20">
                  <c:v>100</c:v>
                </c:pt>
                <c:pt idx="21">
                  <c:v>101</c:v>
                </c:pt>
                <c:pt idx="22">
                  <c:v>102</c:v>
                </c:pt>
                <c:pt idx="23">
                  <c:v>103</c:v>
                </c:pt>
                <c:pt idx="24">
                  <c:v>104</c:v>
                </c:pt>
                <c:pt idx="25">
                  <c:v>100</c:v>
                </c:pt>
                <c:pt idx="26">
                  <c:v>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077-4B3D-99B7-BBC89CD75A4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G$2:$G$28</c:f>
              <c:numCache>
                <c:formatCode>0</c:formatCode>
                <c:ptCount val="27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95</c:v>
                </c:pt>
                <c:pt idx="11">
                  <c:v>96</c:v>
                </c:pt>
                <c:pt idx="12">
                  <c:v>97</c:v>
                </c:pt>
                <c:pt idx="13">
                  <c:v>98</c:v>
                </c:pt>
                <c:pt idx="14">
                  <c:v>99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95</c:v>
                </c:pt>
                <c:pt idx="21">
                  <c:v>96</c:v>
                </c:pt>
                <c:pt idx="22">
                  <c:v>97</c:v>
                </c:pt>
                <c:pt idx="23">
                  <c:v>98</c:v>
                </c:pt>
                <c:pt idx="24">
                  <c:v>99</c:v>
                </c:pt>
                <c:pt idx="25">
                  <c:v>95</c:v>
                </c:pt>
                <c:pt idx="26">
                  <c:v>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077-4B3D-99B7-BBC89CD75A4C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H$2:$H$28</c:f>
              <c:numCache>
                <c:formatCode>0</c:formatCode>
                <c:ptCount val="27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5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  <c:pt idx="12">
                  <c:v>90</c:v>
                </c:pt>
                <c:pt idx="13">
                  <c:v>90</c:v>
                </c:pt>
                <c:pt idx="14">
                  <c:v>90</c:v>
                </c:pt>
                <c:pt idx="15">
                  <c:v>90</c:v>
                </c:pt>
                <c:pt idx="16">
                  <c:v>90</c:v>
                </c:pt>
                <c:pt idx="17">
                  <c:v>90</c:v>
                </c:pt>
                <c:pt idx="18">
                  <c:v>90</c:v>
                </c:pt>
                <c:pt idx="19">
                  <c:v>90</c:v>
                </c:pt>
                <c:pt idx="20">
                  <c:v>90</c:v>
                </c:pt>
                <c:pt idx="21">
                  <c:v>90</c:v>
                </c:pt>
                <c:pt idx="22">
                  <c:v>90</c:v>
                </c:pt>
                <c:pt idx="23">
                  <c:v>90</c:v>
                </c:pt>
                <c:pt idx="24">
                  <c:v>90</c:v>
                </c:pt>
                <c:pt idx="25">
                  <c:v>90</c:v>
                </c:pt>
                <c:pt idx="26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077-4B3D-99B7-BBC89CD75A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574280"/>
        <c:axId val="417573104"/>
      </c:lineChart>
      <c:catAx>
        <c:axId val="41757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73496"/>
        <c:crosses val="autoZero"/>
        <c:auto val="1"/>
        <c:lblAlgn val="ctr"/>
        <c:lblOffset val="100"/>
        <c:noMultiLvlLbl val="0"/>
      </c:catAx>
      <c:valAx>
        <c:axId val="417573496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73888"/>
        <c:crosses val="autoZero"/>
        <c:crossBetween val="between"/>
      </c:valAx>
      <c:valAx>
        <c:axId val="417573104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74280"/>
        <c:crosses val="max"/>
        <c:crossBetween val="between"/>
      </c:valAx>
      <c:catAx>
        <c:axId val="417574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7573104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(Mn)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16M03 MAT</c:v>
                </c:pt>
                <c:pt idx="1">
                  <c:v>17M03 MAT</c:v>
                </c:pt>
                <c:pt idx="2">
                  <c:v>18M03 MAT</c:v>
                </c:pt>
                <c:pt idx="3">
                  <c:v>19M03 MAT</c:v>
                </c:pt>
                <c:pt idx="4">
                  <c:v>20M03 MA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2" formatCode="_ * #,##0_ ;_ * \-#,##0_ ;_ * &quot;-&quot;??_ ;_ @_ ">
                  <c:v>16.654764976190499</c:v>
                </c:pt>
                <c:pt idx="3" formatCode="_ * #,##0_ ;_ * \-#,##0_ ;_ * &quot;-&quot;??_ ;_ @_ ">
                  <c:v>65.004456450000006</c:v>
                </c:pt>
                <c:pt idx="4" formatCode="_ * #,##0_ ;_ * \-#,##0_ ;_ * &quot;-&quot;??_ ;_ @_ ">
                  <c:v>52.372176674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42-45B7-AFA3-DD35803A8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21375800"/>
        <c:axId val="4213761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%</c:v>
                </c:pt>
              </c:strCache>
            </c:strRef>
          </c:tx>
          <c:spPr>
            <a:ln w="19050" cap="flat" cmpd="sng" algn="ctr">
              <a:solidFill>
                <a:schemeClr val="accent2"/>
              </a:solidFill>
              <a:prstDash val="solid"/>
              <a:miter lim="800000"/>
            </a:ln>
            <a:effectLst/>
          </c:spPr>
          <c:marker>
            <c:symbol val="circle"/>
            <c:size val="4"/>
            <c:spPr>
              <a:ln w="19050">
                <a:solidFill>
                  <a:schemeClr val="accent2"/>
                </a:solidFill>
                <a:prstDash val="solid"/>
              </a:ln>
            </c:spPr>
          </c:marker>
          <c:cat>
            <c:strRef>
              <c:f>Sheet1!$A$2:$A$6</c:f>
              <c:strCache>
                <c:ptCount val="5"/>
                <c:pt idx="0">
                  <c:v>16M03 MAT</c:v>
                </c:pt>
                <c:pt idx="1">
                  <c:v>17M03 MAT</c:v>
                </c:pt>
                <c:pt idx="2">
                  <c:v>18M03 MAT</c:v>
                </c:pt>
                <c:pt idx="3">
                  <c:v>19M03 MAT</c:v>
                </c:pt>
                <c:pt idx="4">
                  <c:v>20M03 MA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3" formatCode="0%">
                  <c:v>2.90305456383983</c:v>
                </c:pt>
                <c:pt idx="4" formatCode="0%">
                  <c:v>-0.19432944239317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442-45B7-AFA3-DD35803A8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376976"/>
        <c:axId val="421376584"/>
      </c:lineChart>
      <c:catAx>
        <c:axId val="421375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6192"/>
        <c:crosses val="autoZero"/>
        <c:auto val="1"/>
        <c:lblAlgn val="ctr"/>
        <c:lblOffset val="100"/>
        <c:noMultiLvlLbl val="0"/>
      </c:catAx>
      <c:valAx>
        <c:axId val="421376192"/>
        <c:scaling>
          <c:orientation val="minMax"/>
        </c:scaling>
        <c:delete val="0"/>
        <c:axPos val="l"/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5800"/>
        <c:crosses val="autoZero"/>
        <c:crossBetween val="between"/>
      </c:valAx>
      <c:valAx>
        <c:axId val="421376584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21376976"/>
        <c:crosses val="max"/>
        <c:crossBetween val="between"/>
      </c:valAx>
      <c:catAx>
        <c:axId val="42137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1376584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 rtl="0">
              <a:defRPr sz="700"/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+mn-lt"/>
        </a:defRPr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(Mn)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16M03 YTD</c:v>
                </c:pt>
                <c:pt idx="1">
                  <c:v>17M03 YTD</c:v>
                </c:pt>
                <c:pt idx="2">
                  <c:v>18M03 YTD</c:v>
                </c:pt>
                <c:pt idx="3">
                  <c:v>19M03 YTD</c:v>
                </c:pt>
                <c:pt idx="4">
                  <c:v>20M03 YTD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2" formatCode="_ * #,##0_ ;_ * \-#,##0_ ;_ * &quot;-&quot;??_ ;_ @_ ">
                  <c:v>16.654764976190499</c:v>
                </c:pt>
                <c:pt idx="3" formatCode="_ * #,##0_ ;_ * \-#,##0_ ;_ * &quot;-&quot;??_ ;_ @_ ">
                  <c:v>16.181983885714299</c:v>
                </c:pt>
                <c:pt idx="4" formatCode="_ * #,##0_ ;_ * \-#,##0_ ;_ * &quot;-&quot;??_ ;_ @_ ">
                  <c:v>9.3684165083333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31-4102-9BC4-1E0125D842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21371488"/>
        <c:axId val="4213718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%</c:v>
                </c:pt>
              </c:strCache>
            </c:strRef>
          </c:tx>
          <c:spPr>
            <a:ln w="19050" cap="flat" cmpd="sng" algn="ctr">
              <a:solidFill>
                <a:schemeClr val="accent2"/>
              </a:solidFill>
              <a:prstDash val="solid"/>
              <a:miter lim="800000"/>
            </a:ln>
            <a:effectLst/>
          </c:spPr>
          <c:marker>
            <c:symbol val="circle"/>
            <c:size val="4"/>
            <c:spPr>
              <a:ln w="19050">
                <a:solidFill>
                  <a:schemeClr val="accent2"/>
                </a:solidFill>
                <a:prstDash val="solid"/>
              </a:ln>
            </c:spPr>
          </c:marker>
          <c:cat>
            <c:strRef>
              <c:f>Sheet1!$A$2:$A$6</c:f>
              <c:strCache>
                <c:ptCount val="5"/>
                <c:pt idx="0">
                  <c:v>16M03 YTD</c:v>
                </c:pt>
                <c:pt idx="1">
                  <c:v>17M03 YTD</c:v>
                </c:pt>
                <c:pt idx="2">
                  <c:v>18M03 YTD</c:v>
                </c:pt>
                <c:pt idx="3">
                  <c:v>19M03 YTD</c:v>
                </c:pt>
                <c:pt idx="4">
                  <c:v>20M03 YTD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3" formatCode="0%">
                  <c:v>-2.83871367234588E-2</c:v>
                </c:pt>
                <c:pt idx="4" formatCode="0%">
                  <c:v>-0.421058840838179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331-4102-9BC4-1E0125D842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372664"/>
        <c:axId val="421369920"/>
      </c:lineChart>
      <c:catAx>
        <c:axId val="421371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1880"/>
        <c:crosses val="autoZero"/>
        <c:auto val="1"/>
        <c:lblAlgn val="ctr"/>
        <c:lblOffset val="100"/>
        <c:noMultiLvlLbl val="0"/>
      </c:catAx>
      <c:valAx>
        <c:axId val="421371880"/>
        <c:scaling>
          <c:orientation val="minMax"/>
        </c:scaling>
        <c:delete val="0"/>
        <c:axPos val="l"/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1488"/>
        <c:crosses val="autoZero"/>
        <c:crossBetween val="between"/>
      </c:valAx>
      <c:valAx>
        <c:axId val="421369920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21372664"/>
        <c:crosses val="max"/>
        <c:crossBetween val="between"/>
      </c:valAx>
      <c:catAx>
        <c:axId val="421372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1369920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 rtl="0">
              <a:defRPr sz="700"/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+mn-lt"/>
        </a:defRPr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A$3</c:f>
              <c:strCache>
                <c:ptCount val="1"/>
                <c:pt idx="0">
                  <c:v>NUCLEOS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99114B9-2BB4-4FDF-8446-DDFA1F8CC59C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58338F0-3AAD-43BA-917A-C421DBF24EB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5463-45B5-908E-86B5A01991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CA9844B-96A1-41E0-A6CB-804F190FDE2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5463-45B5-908E-86B5A01991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463-45B5-908E-86B5A01991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463-45B5-908E-86B5A01991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0.10850165429912</c:v>
                </c:pt>
                <c:pt idx="1">
                  <c:v>0.13829194235862499</c:v>
                </c:pt>
                <c:pt idx="2">
                  <c:v>0.1790330814517719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4-4F4B-4646-B5D6-96A2879FDD66}"/>
            </c:ext>
          </c:extLst>
        </c:ser>
        <c:ser>
          <c:idx val="4"/>
          <c:order val="1"/>
          <c:tx>
            <c:strRef>
              <c:f>Sheet1!$A$2</c:f>
              <c:strCache>
                <c:ptCount val="1"/>
                <c:pt idx="0">
                  <c:v>HBV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C140F48-3383-43B3-AF92-1F131EF6F58E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5463-45B5-908E-86B5A01991A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32B9090-A8E3-4C0D-96C1-C3DFDFB9FD4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5463-45B5-908E-86B5A01991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931C959-F8E0-4BDB-B499-730ACF5B50D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5463-45B5-908E-86B5A01991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5463-45B5-908E-86B5A01991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5463-45B5-908E-86B5A01991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0.89149834570088005</c:v>
                </c:pt>
                <c:pt idx="1">
                  <c:v>0.86170805764137504</c:v>
                </c:pt>
                <c:pt idx="2">
                  <c:v>0.820966918548228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5-4F4B-4646-B5D6-96A2879FD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36504832"/>
        <c:axId val="536507184"/>
      </c:barChart>
      <c:catAx>
        <c:axId val="536504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6507184"/>
        <c:crosses val="autoZero"/>
        <c:auto val="1"/>
        <c:lblAlgn val="ctr"/>
        <c:lblOffset val="100"/>
        <c:noMultiLvlLbl val="0"/>
      </c:catAx>
      <c:valAx>
        <c:axId val="5365071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36504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93362574644611"/>
          <c:y val="0.35447319889347711"/>
          <c:w val="0.17821399714114838"/>
          <c:h val="0.38928068496171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FBEE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B679788-3F0C-4843-A83C-0D754515A379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7AB-422B-9EA0-8395C63C88C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7AB-422B-9EA0-8395C63C88C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7AB-422B-9EA0-8395C63C88C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7AB-422B-9EA0-8395C63C88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6:$K$6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0-4F4B-4646-B5D6-96A2879FDD66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FFC42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0052C07-FA84-4F85-A5FA-DD6D1F9AF541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7AB-422B-9EA0-8395C63C88C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7AB-422B-9EA0-8395C63C88C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7AB-422B-9EA0-8395C63C88C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7AB-422B-9EA0-8395C63C88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5:$K$5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1-4F4B-4646-B5D6-96A2879FDD6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0A22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6F26B04-9058-4CE8-AEB1-E8AFAC6E951C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7AB-422B-9EA0-8395C63C88C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7AB-422B-9EA0-8395C63C88C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7AB-422B-9EA0-8395C63C88C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7AB-422B-9EA0-8395C63C88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K$4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3-4F4B-4646-B5D6-96A2879FDD66}"/>
            </c:ext>
          </c:extLst>
        </c:ser>
        <c:ser>
          <c:idx val="3"/>
          <c:order val="3"/>
          <c:tx>
            <c:strRef>
              <c:f>Sheet1!$A$3</c:f>
              <c:strCache>
                <c:ptCount val="1"/>
                <c:pt idx="0">
                  <c:v>NUCLEOS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92EF426D-FFA9-4A13-85CA-9E313457117C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39C8123-C5A2-485D-A464-BAA5A340A53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67AB-422B-9EA0-8395C63C88C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29B949E-C403-47ED-8D73-BB4E888CEF1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67AB-422B-9EA0-8395C63C88C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7AB-422B-9EA0-8395C63C88C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7AB-422B-9EA0-8395C63C88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2.6935647927521698E-2</c:v>
                </c:pt>
                <c:pt idx="1">
                  <c:v>3.4826340191414902E-2</c:v>
                </c:pt>
                <c:pt idx="2">
                  <c:v>4.5709462808092502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4-4F4B-4646-B5D6-96A2879FDD66}"/>
            </c:ext>
          </c:extLst>
        </c:ser>
        <c:ser>
          <c:idx val="4"/>
          <c:order val="4"/>
          <c:tx>
            <c:strRef>
              <c:f>Sheet1!$A$2</c:f>
              <c:strCache>
                <c:ptCount val="1"/>
                <c:pt idx="0">
                  <c:v>HBV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4B3CFFCD-3ECF-4E21-A1EB-5E906C0C37C2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67AB-422B-9EA0-8395C63C88C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89E7729-4BB3-4454-BB19-B357FF48AB26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67AB-422B-9EA0-8395C63C88C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5517929-40BD-49EF-9121-C0DFA908D7C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67AB-422B-9EA0-8395C63C88C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7AB-422B-9EA0-8395C63C88C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67AB-422B-9EA0-8395C63C88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MAT Share</c:v>
                </c:pt>
                <c:pt idx="1">
                  <c:v>19M03 MAT Share</c:v>
                </c:pt>
                <c:pt idx="2">
                  <c:v>20M03 MAT Share</c:v>
                </c:pt>
                <c:pt idx="3">
                  <c:v>列1</c:v>
                </c:pt>
                <c:pt idx="4">
                  <c:v>列2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0.97306435207247799</c:v>
                </c:pt>
                <c:pt idx="1">
                  <c:v>0.96517365980858505</c:v>
                </c:pt>
                <c:pt idx="2">
                  <c:v>0.9542905371919070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5-4F4B-4646-B5D6-96A2879FD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36499736"/>
        <c:axId val="536497384"/>
      </c:barChart>
      <c:catAx>
        <c:axId val="536499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6497384"/>
        <c:crosses val="autoZero"/>
        <c:auto val="1"/>
        <c:lblAlgn val="ctr"/>
        <c:lblOffset val="100"/>
        <c:noMultiLvlLbl val="0"/>
      </c:catAx>
      <c:valAx>
        <c:axId val="5364973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36499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396710109512177"/>
          <c:y val="0.2828724491841399"/>
          <c:w val="0.17821399714114838"/>
          <c:h val="0.55634910095016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FBEE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98AFDF5-CD49-473C-AA04-8DD0099BDA6C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F9C-4F67-A816-BD2CB7CF28A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F9C-4F67-A816-BD2CB7CF28A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F9C-4F67-A816-BD2CB7CF28A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F9C-4F67-A816-BD2CB7CF28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YTD Share</c:v>
                </c:pt>
                <c:pt idx="1">
                  <c:v>19M03 YTD Share</c:v>
                </c:pt>
                <c:pt idx="2">
                  <c:v>20M03 YTD Share</c:v>
                </c:pt>
                <c:pt idx="3">
                  <c:v>NA Share</c:v>
                </c:pt>
                <c:pt idx="4">
                  <c:v>列1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6:$K$6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0-4F4B-4646-B5D6-96A2879FDD66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FFC42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0A02FF9-2FA7-47E6-9E57-192B40B5FB2D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F9C-4F67-A816-BD2CB7CF28A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F9C-4F67-A816-BD2CB7CF28A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F9C-4F67-A816-BD2CB7CF28A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F9C-4F67-A816-BD2CB7CF28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YTD Share</c:v>
                </c:pt>
                <c:pt idx="1">
                  <c:v>19M03 YTD Share</c:v>
                </c:pt>
                <c:pt idx="2">
                  <c:v>20M03 YTD Share</c:v>
                </c:pt>
                <c:pt idx="3">
                  <c:v>NA Share</c:v>
                </c:pt>
                <c:pt idx="4">
                  <c:v>列1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5:$K$5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1-4F4B-4646-B5D6-96A2879FDD6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0A22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D2105FC-7292-439E-BF5E-790E2D66DD8F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F9C-4F67-A816-BD2CB7CF28A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F9C-4F67-A816-BD2CB7CF28A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F9C-4F67-A816-BD2CB7CF28A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F9C-4F67-A816-BD2CB7CF28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YTD Share</c:v>
                </c:pt>
                <c:pt idx="1">
                  <c:v>19M03 YTD Share</c:v>
                </c:pt>
                <c:pt idx="2">
                  <c:v>20M03 YTD Share</c:v>
                </c:pt>
                <c:pt idx="3">
                  <c:v>NA Share</c:v>
                </c:pt>
                <c:pt idx="4">
                  <c:v>列1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K$4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3-4F4B-4646-B5D6-96A2879FDD66}"/>
            </c:ext>
          </c:extLst>
        </c:ser>
        <c:ser>
          <c:idx val="3"/>
          <c:order val="3"/>
          <c:tx>
            <c:strRef>
              <c:f>Sheet1!$A$3</c:f>
              <c:strCache>
                <c:ptCount val="1"/>
                <c:pt idx="0">
                  <c:v>NUCLEOS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23E2AC2-137D-477D-A5A8-B7B9ADCE0F50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FF9148D7-EBA6-4C1F-BC74-194B033F1B0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1F9C-4F67-A816-BD2CB7CF28A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93F8592-BA71-471A-B07A-B40DFF59E56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1F9C-4F67-A816-BD2CB7CF28A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C94C0A5-69B7-4C53-92CF-9FC8C02B6B1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1F9C-4F67-A816-BD2CB7CF28A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F9C-4F67-A816-BD2CB7CF28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YTD Share</c:v>
                </c:pt>
                <c:pt idx="1">
                  <c:v>19M03 YTD Share</c:v>
                </c:pt>
                <c:pt idx="2">
                  <c:v>20M03 YTD Share</c:v>
                </c:pt>
                <c:pt idx="3">
                  <c:v>NA Share</c:v>
                </c:pt>
                <c:pt idx="4">
                  <c:v>列1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0.10850165429912</c:v>
                </c:pt>
                <c:pt idx="1">
                  <c:v>0.16271773989754701</c:v>
                </c:pt>
                <c:pt idx="2">
                  <c:v>0.19181393181104101</c:v>
                </c:pt>
                <c:pt idx="3">
                  <c:v>0.1508337740547829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4-4F4B-4646-B5D6-96A2879FDD66}"/>
            </c:ext>
          </c:extLst>
        </c:ser>
        <c:ser>
          <c:idx val="4"/>
          <c:order val="4"/>
          <c:tx>
            <c:strRef>
              <c:f>Sheet1!$A$2</c:f>
              <c:strCache>
                <c:ptCount val="1"/>
                <c:pt idx="0">
                  <c:v>HBV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588A88E-C8D4-40E3-8B06-688AE1742AD7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1F9C-4F67-A816-BD2CB7CF28A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B8EF62A-F8B8-4CB6-8DC0-F8664A40487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1F9C-4F67-A816-BD2CB7CF28A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831E432-CC8E-4133-B22E-E8CDAC32608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1F9C-4F67-A816-BD2CB7CF28A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53888D7-8FF4-4FB9-B109-31680BA1BE0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1F9C-4F67-A816-BD2CB7CF28A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1F9C-4F67-A816-BD2CB7CF28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YTD Share</c:v>
                </c:pt>
                <c:pt idx="1">
                  <c:v>19M03 YTD Share</c:v>
                </c:pt>
                <c:pt idx="2">
                  <c:v>20M03 YTD Share</c:v>
                </c:pt>
                <c:pt idx="3">
                  <c:v>NA Share</c:v>
                </c:pt>
                <c:pt idx="4">
                  <c:v>列1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0.89149834570088005</c:v>
                </c:pt>
                <c:pt idx="1">
                  <c:v>0.83728226010245299</c:v>
                </c:pt>
                <c:pt idx="2">
                  <c:v>0.80818606818895899</c:v>
                </c:pt>
                <c:pt idx="3">
                  <c:v>0.8491662259452169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5-4F4B-4646-B5D6-96A2879FD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27924776"/>
        <c:axId val="527925168"/>
      </c:barChart>
      <c:catAx>
        <c:axId val="527924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7925168"/>
        <c:crosses val="autoZero"/>
        <c:auto val="1"/>
        <c:lblAlgn val="ctr"/>
        <c:lblOffset val="100"/>
        <c:noMultiLvlLbl val="0"/>
      </c:catAx>
      <c:valAx>
        <c:axId val="5279251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27924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396710109512177"/>
          <c:y val="0.2828724491841399"/>
          <c:w val="0.17821399714114838"/>
          <c:h val="0.55634910095016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FBEE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91F7C350-3CC8-45DA-B3E7-F73416742E4F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130-4842-9714-4327FB3426B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130-4842-9714-4327FB3426B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130-4842-9714-4327FB3426B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130-4842-9714-4327FB3426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YTD Share</c:v>
                </c:pt>
                <c:pt idx="1">
                  <c:v>19M03 YTD Share</c:v>
                </c:pt>
                <c:pt idx="2">
                  <c:v>20M03 YTD Share</c:v>
                </c:pt>
                <c:pt idx="3">
                  <c:v>NA Share</c:v>
                </c:pt>
                <c:pt idx="4">
                  <c:v>列1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6:$K$6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0-4F4B-4646-B5D6-96A2879FDD66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FFC42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270F0EE-75D5-4ACB-8A75-3FC98DA0C12C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130-4842-9714-4327FB3426B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130-4842-9714-4327FB3426B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130-4842-9714-4327FB3426B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130-4842-9714-4327FB3426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YTD Share</c:v>
                </c:pt>
                <c:pt idx="1">
                  <c:v>19M03 YTD Share</c:v>
                </c:pt>
                <c:pt idx="2">
                  <c:v>20M03 YTD Share</c:v>
                </c:pt>
                <c:pt idx="3">
                  <c:v>NA Share</c:v>
                </c:pt>
                <c:pt idx="4">
                  <c:v>列1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5:$K$5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1-4F4B-4646-B5D6-96A2879FDD6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0A22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ED13FC4-BC7F-41C1-8E27-A02986816DC0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130-4842-9714-4327FB3426B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130-4842-9714-4327FB3426B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130-4842-9714-4327FB3426B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130-4842-9714-4327FB3426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YTD Share</c:v>
                </c:pt>
                <c:pt idx="1">
                  <c:v>19M03 YTD Share</c:v>
                </c:pt>
                <c:pt idx="2">
                  <c:v>20M03 YTD Share</c:v>
                </c:pt>
                <c:pt idx="3">
                  <c:v>NA Share</c:v>
                </c:pt>
                <c:pt idx="4">
                  <c:v>列1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K$4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3-4F4B-4646-B5D6-96A2879FDD66}"/>
            </c:ext>
          </c:extLst>
        </c:ser>
        <c:ser>
          <c:idx val="3"/>
          <c:order val="3"/>
          <c:tx>
            <c:strRef>
              <c:f>Sheet1!$A$3</c:f>
              <c:strCache>
                <c:ptCount val="1"/>
                <c:pt idx="0">
                  <c:v>NUCLEOS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50782D7-DBEE-4EB3-A17A-55594CE8BBF1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3F099A1-83D0-4F70-A2D4-BE570080489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E130-4842-9714-4327FB3426B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7F88422-D92F-4F22-8771-B501F8F5B64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E130-4842-9714-4327FB3426B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106D140-0A68-4FB1-B511-193BB30069F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E130-4842-9714-4327FB3426B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130-4842-9714-4327FB3426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YTD Share</c:v>
                </c:pt>
                <c:pt idx="1">
                  <c:v>19M03 YTD Share</c:v>
                </c:pt>
                <c:pt idx="2">
                  <c:v>20M03 YTD Share</c:v>
                </c:pt>
                <c:pt idx="3">
                  <c:v>NA Share</c:v>
                </c:pt>
                <c:pt idx="4">
                  <c:v>列1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2.6935647927521698E-2</c:v>
                </c:pt>
                <c:pt idx="1">
                  <c:v>4.1347539570738202E-2</c:v>
                </c:pt>
                <c:pt idx="2">
                  <c:v>4.2182556336104002E-2</c:v>
                </c:pt>
                <c:pt idx="3">
                  <c:v>3.9133723481053997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4-4F4B-4646-B5D6-96A2879FDD66}"/>
            </c:ext>
          </c:extLst>
        </c:ser>
        <c:ser>
          <c:idx val="4"/>
          <c:order val="4"/>
          <c:tx>
            <c:strRef>
              <c:f>Sheet1!$A$2</c:f>
              <c:strCache>
                <c:ptCount val="1"/>
                <c:pt idx="0">
                  <c:v>HBV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1F14E2D-79AC-4075-BCFF-E45CD967A22E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E130-4842-9714-4327FB3426B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3E7AA30-BFD1-4369-B33F-D65599E74AB4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E130-4842-9714-4327FB3426B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FB828FD-6F57-4950-A11B-B4D6943F00A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E130-4842-9714-4327FB3426B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4734F9D-BAC3-4F5E-835D-E377CA0E48A6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E130-4842-9714-4327FB3426B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E130-4842-9714-4327FB3426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8M03 YTD Share</c:v>
                </c:pt>
                <c:pt idx="1">
                  <c:v>19M03 YTD Share</c:v>
                </c:pt>
                <c:pt idx="2">
                  <c:v>20M03 YTD Share</c:v>
                </c:pt>
                <c:pt idx="3">
                  <c:v>NA Share</c:v>
                </c:pt>
                <c:pt idx="4">
                  <c:v>列1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0.97306435207247799</c:v>
                </c:pt>
                <c:pt idx="1">
                  <c:v>0.958652460429262</c:v>
                </c:pt>
                <c:pt idx="2">
                  <c:v>0.95781744366389598</c:v>
                </c:pt>
                <c:pt idx="3">
                  <c:v>0.9608662765189459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05-4F4B-4646-B5D6-96A2879FD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27938496"/>
        <c:axId val="536485624"/>
      </c:barChart>
      <c:catAx>
        <c:axId val="52793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6485624"/>
        <c:crosses val="autoZero"/>
        <c:auto val="1"/>
        <c:lblAlgn val="ctr"/>
        <c:lblOffset val="100"/>
        <c:noMultiLvlLbl val="0"/>
      </c:catAx>
      <c:valAx>
        <c:axId val="5364856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27938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396710109512177"/>
          <c:y val="0.2828724491841399"/>
          <c:w val="0.17821399714114838"/>
          <c:h val="0.55634910095016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ENTECAVIR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488.51738476999998</c:v>
                </c:pt>
                <c:pt idx="1">
                  <c:v>463.09894671000001</c:v>
                </c:pt>
                <c:pt idx="2">
                  <c:v>455.56788061999998</c:v>
                </c:pt>
                <c:pt idx="3">
                  <c:v>462.83916113999999</c:v>
                </c:pt>
                <c:pt idx="4">
                  <c:v>485.06633440000002</c:v>
                </c:pt>
                <c:pt idx="5">
                  <c:v>549.88698376000002</c:v>
                </c:pt>
                <c:pt idx="6">
                  <c:v>409.16087771999997</c:v>
                </c:pt>
                <c:pt idx="7">
                  <c:v>480.85359287</c:v>
                </c:pt>
                <c:pt idx="8">
                  <c:v>460.18405974000001</c:v>
                </c:pt>
                <c:pt idx="9">
                  <c:v>648.63580461000004</c:v>
                </c:pt>
                <c:pt idx="10">
                  <c:v>289.95838416999999</c:v>
                </c:pt>
                <c:pt idx="11">
                  <c:v>444.65042266</c:v>
                </c:pt>
                <c:pt idx="12">
                  <c:v>430.49533744000001</c:v>
                </c:pt>
                <c:pt idx="13">
                  <c:v>374.82336623999998</c:v>
                </c:pt>
                <c:pt idx="14">
                  <c:v>368.50862097999999</c:v>
                </c:pt>
                <c:pt idx="15">
                  <c:v>393.97269820000002</c:v>
                </c:pt>
                <c:pt idx="16">
                  <c:v>377.34035492999999</c:v>
                </c:pt>
                <c:pt idx="17">
                  <c:v>431.82734464999999</c:v>
                </c:pt>
                <c:pt idx="18">
                  <c:v>309.51719176</c:v>
                </c:pt>
                <c:pt idx="19">
                  <c:v>295.63089882000003</c:v>
                </c:pt>
                <c:pt idx="20">
                  <c:v>233.53042031999999</c:v>
                </c:pt>
                <c:pt idx="21">
                  <c:v>213.33708723000001</c:v>
                </c:pt>
                <c:pt idx="22">
                  <c:v>96.686440700000006</c:v>
                </c:pt>
                <c:pt idx="23">
                  <c:v>114.6142068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TENOFOVIR DISOPROXIL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69.284666329999993</c:v>
                </c:pt>
                <c:pt idx="1">
                  <c:v>72.464506020000002</c:v>
                </c:pt>
                <c:pt idx="2">
                  <c:v>73.648546519999996</c:v>
                </c:pt>
                <c:pt idx="3">
                  <c:v>80.398214300000006</c:v>
                </c:pt>
                <c:pt idx="4">
                  <c:v>86.949481449999993</c:v>
                </c:pt>
                <c:pt idx="5">
                  <c:v>101.80865466</c:v>
                </c:pt>
                <c:pt idx="6">
                  <c:v>71.894982249999998</c:v>
                </c:pt>
                <c:pt idx="7">
                  <c:v>97.246748589999996</c:v>
                </c:pt>
                <c:pt idx="8">
                  <c:v>93.786141319999999</c:v>
                </c:pt>
                <c:pt idx="9">
                  <c:v>127.71112789</c:v>
                </c:pt>
                <c:pt idx="10">
                  <c:v>77.66009751</c:v>
                </c:pt>
                <c:pt idx="11">
                  <c:v>104.14204518</c:v>
                </c:pt>
                <c:pt idx="12">
                  <c:v>93.861651670000001</c:v>
                </c:pt>
                <c:pt idx="13">
                  <c:v>89.323839669999998</c:v>
                </c:pt>
                <c:pt idx="14">
                  <c:v>83.350165439999998</c:v>
                </c:pt>
                <c:pt idx="15">
                  <c:v>93.945759719999998</c:v>
                </c:pt>
                <c:pt idx="16">
                  <c:v>93.099715099999997</c:v>
                </c:pt>
                <c:pt idx="17">
                  <c:v>113.92300288</c:v>
                </c:pt>
                <c:pt idx="18">
                  <c:v>74.21005615</c:v>
                </c:pt>
                <c:pt idx="19">
                  <c:v>75.578851380000003</c:v>
                </c:pt>
                <c:pt idx="20">
                  <c:v>81.010460359999996</c:v>
                </c:pt>
                <c:pt idx="21">
                  <c:v>65.325383410000001</c:v>
                </c:pt>
                <c:pt idx="22">
                  <c:v>29.5859886</c:v>
                </c:pt>
                <c:pt idx="23">
                  <c:v>34.68227223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ADEFOVIR DIPIVOXIL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38.867432340000001</c:v>
                </c:pt>
                <c:pt idx="1">
                  <c:v>35.801908760000003</c:v>
                </c:pt>
                <c:pt idx="2">
                  <c:v>30.96311884</c:v>
                </c:pt>
                <c:pt idx="3">
                  <c:v>33.374892840000001</c:v>
                </c:pt>
                <c:pt idx="4">
                  <c:v>32.818421260000001</c:v>
                </c:pt>
                <c:pt idx="5">
                  <c:v>34.736359520000001</c:v>
                </c:pt>
                <c:pt idx="6">
                  <c:v>24.736585340000001</c:v>
                </c:pt>
                <c:pt idx="7">
                  <c:v>28.437654120000001</c:v>
                </c:pt>
                <c:pt idx="8">
                  <c:v>27.4981665</c:v>
                </c:pt>
                <c:pt idx="9">
                  <c:v>40.256790109999997</c:v>
                </c:pt>
                <c:pt idx="10">
                  <c:v>17.555928179999999</c:v>
                </c:pt>
                <c:pt idx="11">
                  <c:v>23.272747429999999</c:v>
                </c:pt>
                <c:pt idx="12">
                  <c:v>26.419492179999999</c:v>
                </c:pt>
                <c:pt idx="13">
                  <c:v>22.184758980000002</c:v>
                </c:pt>
                <c:pt idx="14">
                  <c:v>20.59777631</c:v>
                </c:pt>
                <c:pt idx="15">
                  <c:v>22.457040939999999</c:v>
                </c:pt>
                <c:pt idx="16">
                  <c:v>21.474726359999998</c:v>
                </c:pt>
                <c:pt idx="17">
                  <c:v>24.520598490000001</c:v>
                </c:pt>
                <c:pt idx="18">
                  <c:v>17.502549729999998</c:v>
                </c:pt>
                <c:pt idx="19">
                  <c:v>16.051464840000001</c:v>
                </c:pt>
                <c:pt idx="20">
                  <c:v>17.448204650000001</c:v>
                </c:pt>
                <c:pt idx="21">
                  <c:v>20.172288989999998</c:v>
                </c:pt>
                <c:pt idx="22">
                  <c:v>12.76909139</c:v>
                </c:pt>
                <c:pt idx="23">
                  <c:v>12.225738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LAMIVUDIN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30.83494439</c:v>
                </c:pt>
                <c:pt idx="1">
                  <c:v>27.41899153</c:v>
                </c:pt>
                <c:pt idx="2">
                  <c:v>26.34410403</c:v>
                </c:pt>
                <c:pt idx="3">
                  <c:v>26.849431589999998</c:v>
                </c:pt>
                <c:pt idx="4">
                  <c:v>26.56197706</c:v>
                </c:pt>
                <c:pt idx="5">
                  <c:v>28.996058560000002</c:v>
                </c:pt>
                <c:pt idx="6">
                  <c:v>19.461189430000001</c:v>
                </c:pt>
                <c:pt idx="7">
                  <c:v>22.224453870000001</c:v>
                </c:pt>
                <c:pt idx="8">
                  <c:v>23.323656629999999</c:v>
                </c:pt>
                <c:pt idx="9">
                  <c:v>30.966937009999999</c:v>
                </c:pt>
                <c:pt idx="10">
                  <c:v>12.87041273</c:v>
                </c:pt>
                <c:pt idx="11">
                  <c:v>18.695367529999999</c:v>
                </c:pt>
                <c:pt idx="12">
                  <c:v>21.29603659</c:v>
                </c:pt>
                <c:pt idx="13">
                  <c:v>17.309061790000001</c:v>
                </c:pt>
                <c:pt idx="14">
                  <c:v>16.11600576</c:v>
                </c:pt>
                <c:pt idx="15">
                  <c:v>16.732106300000002</c:v>
                </c:pt>
                <c:pt idx="16">
                  <c:v>16.566317000000002</c:v>
                </c:pt>
                <c:pt idx="17">
                  <c:v>18.478390210000001</c:v>
                </c:pt>
                <c:pt idx="18">
                  <c:v>14.085094959999999</c:v>
                </c:pt>
                <c:pt idx="19">
                  <c:v>13.76863809</c:v>
                </c:pt>
                <c:pt idx="20">
                  <c:v>15.25652637</c:v>
                </c:pt>
                <c:pt idx="21">
                  <c:v>18.892744690000001</c:v>
                </c:pt>
                <c:pt idx="22">
                  <c:v>7.8701757900000002</c:v>
                </c:pt>
                <c:pt idx="23">
                  <c:v>13.391468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TELBIVUDINE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5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28.59393669</c:v>
                </c:pt>
                <c:pt idx="1">
                  <c:v>22.411943040000001</c:v>
                </c:pt>
                <c:pt idx="2">
                  <c:v>24.668522159999998</c:v>
                </c:pt>
                <c:pt idx="3">
                  <c:v>22.417604839999999</c:v>
                </c:pt>
                <c:pt idx="4">
                  <c:v>23.21599642</c:v>
                </c:pt>
                <c:pt idx="5">
                  <c:v>23.802796900000001</c:v>
                </c:pt>
                <c:pt idx="6">
                  <c:v>20.901274359999999</c:v>
                </c:pt>
                <c:pt idx="7">
                  <c:v>24.773124800000001</c:v>
                </c:pt>
                <c:pt idx="8">
                  <c:v>28.376186229999998</c:v>
                </c:pt>
                <c:pt idx="9">
                  <c:v>25.828738770000001</c:v>
                </c:pt>
                <c:pt idx="10">
                  <c:v>15.79662452</c:v>
                </c:pt>
                <c:pt idx="11">
                  <c:v>24.146860969999999</c:v>
                </c:pt>
                <c:pt idx="12">
                  <c:v>19.821578970000001</c:v>
                </c:pt>
                <c:pt idx="13">
                  <c:v>16.505182179999998</c:v>
                </c:pt>
                <c:pt idx="14">
                  <c:v>17.513755830000001</c:v>
                </c:pt>
                <c:pt idx="15">
                  <c:v>18.461525819999999</c:v>
                </c:pt>
                <c:pt idx="16">
                  <c:v>17.604059970000002</c:v>
                </c:pt>
                <c:pt idx="17">
                  <c:v>20.71592484</c:v>
                </c:pt>
                <c:pt idx="18">
                  <c:v>15.447180550000001</c:v>
                </c:pt>
                <c:pt idx="19">
                  <c:v>14.07146582</c:v>
                </c:pt>
                <c:pt idx="20">
                  <c:v>14.84824594</c:v>
                </c:pt>
                <c:pt idx="21">
                  <c:v>17.24802459</c:v>
                </c:pt>
                <c:pt idx="22">
                  <c:v>9.4087168099999996</c:v>
                </c:pt>
                <c:pt idx="23">
                  <c:v>9.4120173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7:$Y$7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8:$Y$8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9:$Y$9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0:$Y$10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rgbClr val="1482AC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1:$Y$11</c:f>
              <c:numCache>
                <c:formatCode>General</c:formatCode>
                <c:ptCount val="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18M04</c:v>
                </c:pt>
                <c:pt idx="1">
                  <c:v>18M05</c:v>
                </c:pt>
                <c:pt idx="2">
                  <c:v>18M06</c:v>
                </c:pt>
                <c:pt idx="3">
                  <c:v>18M07</c:v>
                </c:pt>
                <c:pt idx="4">
                  <c:v>18M08</c:v>
                </c:pt>
                <c:pt idx="5">
                  <c:v>18M09</c:v>
                </c:pt>
                <c:pt idx="6">
                  <c:v>18M10</c:v>
                </c:pt>
                <c:pt idx="7">
                  <c:v>18M11</c:v>
                </c:pt>
                <c:pt idx="8">
                  <c:v>18M12</c:v>
                </c:pt>
                <c:pt idx="9">
                  <c:v>19M01</c:v>
                </c:pt>
                <c:pt idx="10">
                  <c:v>19M02</c:v>
                </c:pt>
                <c:pt idx="11">
                  <c:v>19M03</c:v>
                </c:pt>
                <c:pt idx="12">
                  <c:v>19M04</c:v>
                </c:pt>
                <c:pt idx="13">
                  <c:v>19M05</c:v>
                </c:pt>
                <c:pt idx="14">
                  <c:v>19M06</c:v>
                </c:pt>
                <c:pt idx="15">
                  <c:v>19M07</c:v>
                </c:pt>
                <c:pt idx="16">
                  <c:v>19M08</c:v>
                </c:pt>
                <c:pt idx="17">
                  <c:v>19M09</c:v>
                </c:pt>
                <c:pt idx="18">
                  <c:v>19M10</c:v>
                </c:pt>
                <c:pt idx="19">
                  <c:v>19M11</c:v>
                </c:pt>
                <c:pt idx="20">
                  <c:v>19M12</c:v>
                </c:pt>
                <c:pt idx="21">
                  <c:v>20M01</c:v>
                </c:pt>
                <c:pt idx="22">
                  <c:v>20M02</c:v>
                </c:pt>
                <c:pt idx="23">
                  <c:v>20M03</c:v>
                </c:pt>
              </c:strCache>
            </c:strRef>
          </c:cat>
          <c:val>
            <c:numRef>
              <c:f>Sheet1!$B$12:$Y$12</c:f>
              <c:numCache>
                <c:formatCode>General</c:formatCode>
                <c:ptCount val="24"/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2142960"/>
        <c:axId val="422146488"/>
        <c:extLst/>
      </c:lineChart>
      <c:catAx>
        <c:axId val="4221429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146488"/>
        <c:crosses val="autoZero"/>
        <c:auto val="1"/>
        <c:lblAlgn val="ctr"/>
        <c:lblOffset val="100"/>
        <c:noMultiLvlLbl val="0"/>
      </c:catAx>
      <c:valAx>
        <c:axId val="42214648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alue (</a:t>
                </a:r>
                <a:r>
                  <a:rPr lang="en-US" dirty="0" err="1"/>
                  <a:t>Mn</a:t>
                </a:r>
                <a:r>
                  <a:rPr lang="en-US" dirty="0"/>
                  <a:t>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142960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4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8524</cdr:x>
      <cdr:y>0.47268</cdr:y>
    </cdr:from>
    <cdr:to>
      <cdr:x>0.64698</cdr:x>
      <cdr:y>1</cdr:y>
    </cdr:to>
    <cdr:sp macro="" textlink="">
      <cdr:nvSpPr>
        <cdr:cNvPr id="2" name="矩形: 圆角 1">
          <a:extLst xmlns:a="http://schemas.openxmlformats.org/drawingml/2006/main">
            <a:ext uri="{FF2B5EF4-FFF2-40B4-BE49-F238E27FC236}">
              <a16:creationId xmlns:a16="http://schemas.microsoft.com/office/drawing/2014/main" id="{DB208AE4-B918-4702-9938-F97F20EFC5BD}"/>
            </a:ext>
          </a:extLst>
        </cdr:cNvPr>
        <cdr:cNvSpPr/>
      </cdr:nvSpPr>
      <cdr:spPr>
        <a:xfrm xmlns:a="http://schemas.openxmlformats.org/drawingml/2006/main">
          <a:off x="2057400" y="1539794"/>
          <a:ext cx="685789" cy="1717756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>
          <a:solidFill>
            <a:srgbClr val="C0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zh-CN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2069</cdr:x>
      <cdr:y>0.23913</cdr:y>
    </cdr:from>
    <cdr:to>
      <cdr:x>1</cdr:x>
      <cdr:y>0.5</cdr:y>
    </cdr:to>
    <cdr:sp macro="" textlink="">
      <cdr:nvSpPr>
        <cdr:cNvPr id="2" name="椭圆 1">
          <a:extLst xmlns:a="http://schemas.openxmlformats.org/drawingml/2006/main">
            <a:ext uri="{FF2B5EF4-FFF2-40B4-BE49-F238E27FC236}">
              <a16:creationId xmlns:a16="http://schemas.microsoft.com/office/drawing/2014/main" id="{95C80DCA-27B7-456F-A5D2-BF260D1265AF}"/>
            </a:ext>
          </a:extLst>
        </cdr:cNvPr>
        <cdr:cNvSpPr/>
      </cdr:nvSpPr>
      <cdr:spPr>
        <a:xfrm xmlns:a="http://schemas.openxmlformats.org/drawingml/2006/main">
          <a:off x="5486400" y="838199"/>
          <a:ext cx="3352800" cy="914400"/>
        </a:xfrm>
        <a:prstGeom xmlns:a="http://schemas.openxmlformats.org/drawingml/2006/main" prst="ellipse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zh-CN" altLang="en-US" dirty="0"/>
            <a:t>输出的表需要转置一下横纵坐标</a:t>
          </a:r>
          <a:endParaRPr lang="en-US" altLang="zh-CN" dirty="0"/>
        </a:p>
        <a:p xmlns:a="http://schemas.openxmlformats.org/drawingml/2006/main">
          <a:r>
            <a:rPr lang="zh-CN" altLang="en-US" dirty="0"/>
            <a:t>产品信息不需要带出</a:t>
          </a:r>
          <a:r>
            <a:rPr lang="en-US" altLang="zh-CN" dirty="0"/>
            <a:t>share internal product</a:t>
          </a:r>
          <a:r>
            <a:rPr lang="zh-CN" altLang="en-US" dirty="0"/>
            <a:t>：等信息</a:t>
          </a:r>
          <a:endParaRPr lang="zh-CN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258D82-B7D3-4BEA-8B33-ADE4C5E4DB23}" type="datetimeFigureOut">
              <a:rPr lang="zh-CN" altLang="en-US" smtClean="0"/>
              <a:pPr/>
              <a:t>2020/5/28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3B6267-14AF-4555-9CB2-9773EED2D1E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032437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235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235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4BB1E942-0221-46FE-AC80-0A2184A6B6A0}" type="slidenum">
              <a:rPr lang="en-US" altLang="zh-CN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1268407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宋体" charset="-122"/>
        <a:cs typeface="+mn-cs"/>
      </a:defRPr>
    </a:lvl1pPr>
    <a:lvl2pPr marL="342884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宋体" charset="-122"/>
        <a:cs typeface="+mn-cs"/>
      </a:defRPr>
    </a:lvl2pPr>
    <a:lvl3pPr marL="685766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宋体" charset="-122"/>
        <a:cs typeface="+mn-cs"/>
      </a:defRPr>
    </a:lvl3pPr>
    <a:lvl4pPr marL="1028649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宋体" charset="-122"/>
        <a:cs typeface="+mn-cs"/>
      </a:defRPr>
    </a:lvl4pPr>
    <a:lvl5pPr marL="1371532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宋体" charset="-122"/>
        <a:cs typeface="+mn-cs"/>
      </a:defRPr>
    </a:lvl5pPr>
    <a:lvl6pPr marL="1714415" algn="l" defTabSz="6857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297" algn="l" defTabSz="6857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180" algn="l" defTabSz="6857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064" algn="l" defTabSz="6857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原始数据中的</a:t>
            </a:r>
            <a:r>
              <a:rPr lang="en-US" altLang="zh-CN" dirty="0"/>
              <a:t>sales</a:t>
            </a:r>
            <a:r>
              <a:rPr lang="zh-CN" altLang="en-US" dirty="0"/>
              <a:t>为</a:t>
            </a:r>
            <a:r>
              <a:rPr lang="en-US" altLang="zh-CN" dirty="0"/>
              <a:t>sales value RMB</a:t>
            </a:r>
          </a:p>
          <a:p>
            <a:r>
              <a:rPr lang="zh-CN" altLang="en-US" dirty="0"/>
              <a:t>计算</a:t>
            </a:r>
            <a:r>
              <a:rPr lang="en-US" altLang="zh-CN" dirty="0"/>
              <a:t>market</a:t>
            </a:r>
            <a:r>
              <a:rPr lang="zh-CN" altLang="en-US" dirty="0"/>
              <a:t>的</a:t>
            </a:r>
            <a:r>
              <a:rPr lang="en-US" altLang="zh-CN" dirty="0"/>
              <a:t>value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3896631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分子输出可配置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1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684727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分子输出可配置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2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293786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分子输出可配置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3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857901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产品输出可配置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4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382567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MNC/local</a:t>
            </a:r>
            <a:r>
              <a:rPr lang="zh-CN" altLang="en-US" dirty="0"/>
              <a:t>按</a:t>
            </a:r>
            <a:r>
              <a:rPr lang="en-US" altLang="zh-CN" dirty="0"/>
              <a:t>MNF-TYPE</a:t>
            </a:r>
            <a:r>
              <a:rPr lang="zh-CN" altLang="en-US" dirty="0"/>
              <a:t>列计算</a:t>
            </a:r>
            <a:endParaRPr lang="en-US" altLang="zh-CN" dirty="0"/>
          </a:p>
          <a:p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5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129824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MNC/local</a:t>
            </a:r>
            <a:r>
              <a:rPr lang="zh-CN" altLang="en-US" dirty="0"/>
              <a:t>按</a:t>
            </a:r>
            <a:r>
              <a:rPr lang="en-US" altLang="zh-CN" dirty="0"/>
              <a:t>MNF-TYPE</a:t>
            </a:r>
            <a:r>
              <a:rPr lang="zh-CN" altLang="en-US" dirty="0"/>
              <a:t>列计算</a:t>
            </a:r>
            <a:endParaRPr lang="en-US" altLang="zh-CN" dirty="0"/>
          </a:p>
          <a:p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6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0268878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7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408477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8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160514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9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0240672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0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81646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计算</a:t>
            </a:r>
            <a:r>
              <a:rPr lang="en-US" altLang="zh-CN" dirty="0"/>
              <a:t>market</a:t>
            </a:r>
            <a:r>
              <a:rPr lang="zh-CN" altLang="en-US" dirty="0"/>
              <a:t>的</a:t>
            </a:r>
            <a:r>
              <a:rPr lang="en-US" altLang="zh-CN" dirty="0"/>
              <a:t>units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3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537133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按大区显示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1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53868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按大区显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2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842820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按大区显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3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9990753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按大区显示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4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913903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ub market</a:t>
            </a:r>
          </a:p>
          <a:p>
            <a:r>
              <a:rPr lang="zh-CN" altLang="en-US" dirty="0"/>
              <a:t>计算</a:t>
            </a:r>
            <a:r>
              <a:rPr lang="en-US" altLang="zh-CN" dirty="0"/>
              <a:t>sub market</a:t>
            </a:r>
            <a:r>
              <a:rPr lang="zh-CN" altLang="en-US" dirty="0"/>
              <a:t>的</a:t>
            </a:r>
            <a:r>
              <a:rPr lang="en-US" altLang="zh-CN" dirty="0"/>
              <a:t>value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4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499033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ub market</a:t>
            </a:r>
          </a:p>
          <a:p>
            <a:r>
              <a:rPr lang="zh-CN" altLang="en-US" dirty="0"/>
              <a:t>计算</a:t>
            </a:r>
            <a:r>
              <a:rPr lang="en-US" altLang="zh-CN" dirty="0"/>
              <a:t>sub market</a:t>
            </a:r>
            <a:r>
              <a:rPr lang="zh-CN" altLang="en-US" dirty="0"/>
              <a:t>的</a:t>
            </a:r>
            <a:r>
              <a:rPr lang="en-US" altLang="zh-CN" dirty="0"/>
              <a:t>units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5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63461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ub market</a:t>
            </a:r>
          </a:p>
          <a:p>
            <a:r>
              <a:rPr lang="zh-CN" altLang="en-US" dirty="0"/>
              <a:t>计算</a:t>
            </a:r>
            <a:r>
              <a:rPr lang="en-US" altLang="zh-CN" dirty="0"/>
              <a:t>sub market</a:t>
            </a:r>
            <a:r>
              <a:rPr lang="zh-CN" altLang="en-US" dirty="0"/>
              <a:t>的</a:t>
            </a:r>
            <a:r>
              <a:rPr lang="en-US" altLang="zh-CN" dirty="0"/>
              <a:t>value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6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63739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ub market</a:t>
            </a:r>
          </a:p>
          <a:p>
            <a:r>
              <a:rPr lang="zh-CN" altLang="en-US" dirty="0"/>
              <a:t>计算</a:t>
            </a:r>
            <a:r>
              <a:rPr lang="en-US" altLang="zh-CN" dirty="0"/>
              <a:t>sub market</a:t>
            </a:r>
            <a:r>
              <a:rPr lang="zh-CN" altLang="en-US" dirty="0"/>
              <a:t>的</a:t>
            </a:r>
            <a:r>
              <a:rPr lang="en-US" altLang="zh-CN" dirty="0"/>
              <a:t>units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7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217845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分子输出可配置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8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918307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分子输出可配置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9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572089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分子输出可配置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0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602040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389461"/>
              </p:ext>
            </p:extLst>
          </p:nvPr>
        </p:nvGraphicFramePr>
        <p:xfrm>
          <a:off x="1591" y="1206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1" name="think-cell 幻灯片" r:id="rId4" imgW="420" imgH="420" progId="TCLayout.ActiveDocument.1">
                  <p:embed/>
                </p:oleObj>
              </mc:Choice>
              <mc:Fallback>
                <p:oleObj name="think-cell 幻灯片" r:id="rId4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206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id-3227320_1920.jpg" descr="grid-3227320_1920.jpg"/>
          <p:cNvPicPr>
            <a:picLocks noChangeAspect="1"/>
          </p:cNvPicPr>
          <p:nvPr userDrawn="1"/>
        </p:nvPicPr>
        <p:blipFill rotWithShape="1">
          <a:blip r:embed="rId6"/>
          <a:srcRect l="12430" r="12406"/>
          <a:stretch/>
        </p:blipFill>
        <p:spPr>
          <a:xfrm>
            <a:off x="-8568" y="-1"/>
            <a:ext cx="9164003" cy="5143501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7" name="矩形"/>
          <p:cNvSpPr/>
          <p:nvPr userDrawn="1"/>
        </p:nvSpPr>
        <p:spPr>
          <a:xfrm>
            <a:off x="-8572" y="16"/>
            <a:ext cx="9152931" cy="5143501"/>
          </a:xfrm>
          <a:prstGeom prst="rect">
            <a:avLst/>
          </a:prstGeom>
          <a:gradFill>
            <a:gsLst>
              <a:gs pos="1000">
                <a:srgbClr val="0C2B3E">
                  <a:alpha val="79622"/>
                </a:srgbClr>
              </a:gs>
              <a:gs pos="100000">
                <a:srgbClr val="020408">
                  <a:alpha val="79622"/>
                </a:srgbClr>
              </a:gs>
            </a:gsLst>
            <a:lin ang="5400000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435252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00">
              <a:solidFill>
                <a:schemeClr val="bg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62000" y="1257880"/>
            <a:ext cx="4572000" cy="1102519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219200" y="2914650"/>
            <a:ext cx="35814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3165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33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495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66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825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99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15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32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734447"/>
              </p:ext>
            </p:extLst>
          </p:nvPr>
        </p:nvGraphicFramePr>
        <p:xfrm>
          <a:off x="1591" y="1206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279" name="think-cell 幻灯片" r:id="rId4" imgW="420" imgH="420" progId="TCLayout.ActiveDocument.1">
                  <p:embed/>
                </p:oleObj>
              </mc:Choice>
              <mc:Fallback>
                <p:oleObj name="think-cell 幻灯片" r:id="rId4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206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8458200" y="4914900"/>
            <a:ext cx="381000" cy="11430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750" b="0" i="0" u="none" baseline="0">
                <a:solidFill>
                  <a:schemeClr val="bg1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 dirty="0">
              <a:ea typeface="+mn-ea"/>
            </a:endParaRPr>
          </a:p>
        </p:txBody>
      </p:sp>
      <p:grpSp>
        <p:nvGrpSpPr>
          <p:cNvPr id="5" name="组合 4"/>
          <p:cNvGrpSpPr/>
          <p:nvPr userDrawn="1"/>
        </p:nvGrpSpPr>
        <p:grpSpPr>
          <a:xfrm>
            <a:off x="0" y="647282"/>
            <a:ext cx="9144000" cy="1185637"/>
            <a:chOff x="0" y="459405"/>
            <a:chExt cx="9144000" cy="1580850"/>
          </a:xfrm>
        </p:grpSpPr>
        <p:pic>
          <p:nvPicPr>
            <p:cNvPr id="6" name="图片 5"/>
            <p:cNvPicPr>
              <a:picLocks noChangeAspect="1"/>
            </p:cNvPicPr>
            <p:nvPr userDrawn="1"/>
          </p:nvPicPr>
          <p:blipFill rotWithShape="1">
            <a:blip r:embed="rId6"/>
            <a:srcRect t="26047" b="37438"/>
            <a:stretch/>
          </p:blipFill>
          <p:spPr>
            <a:xfrm>
              <a:off x="0" y="482207"/>
              <a:ext cx="9144000" cy="1558048"/>
            </a:xfrm>
            <a:prstGeom prst="rect">
              <a:avLst/>
            </a:prstGeom>
          </p:spPr>
        </p:pic>
        <p:sp>
          <p:nvSpPr>
            <p:cNvPr id="7" name="流程图: 手动输入 6"/>
            <p:cNvSpPr/>
            <p:nvPr userDrawn="1"/>
          </p:nvSpPr>
          <p:spPr>
            <a:xfrm rot="16200000">
              <a:off x="6503345" y="-600400"/>
              <a:ext cx="1580849" cy="3700460"/>
            </a:xfrm>
            <a:prstGeom prst="flowChartManualInput">
              <a:avLst/>
            </a:prstGeom>
            <a:solidFill>
              <a:srgbClr val="E7EAED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642819">
                <a:defRPr/>
              </a:pPr>
              <a:endParaRPr lang="zh-CN" altLang="en-US" sz="1186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391998"/>
              </p:ext>
            </p:extLst>
          </p:nvPr>
        </p:nvGraphicFramePr>
        <p:xfrm>
          <a:off x="1591" y="1206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254" name="think-cell 幻灯片" r:id="rId4" imgW="420" imgH="420" progId="TCLayout.ActiveDocument.1">
                  <p:embed/>
                </p:oleObj>
              </mc:Choice>
              <mc:Fallback>
                <p:oleObj name="think-cell 幻灯片" r:id="rId4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206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14309"/>
            <a:ext cx="8001000" cy="594121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7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8458200" y="4914900"/>
            <a:ext cx="381000" cy="11430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750" b="0" i="0" u="none" baseline="0">
                <a:solidFill>
                  <a:schemeClr val="bg1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 dirty="0">
              <a:ea typeface="+mn-ea"/>
            </a:endParaRPr>
          </a:p>
        </p:txBody>
      </p:sp>
      <p:pic>
        <p:nvPicPr>
          <p:cNvPr id="11" name="Picture 6" descr="pasted-image.pdf">
            <a:extLst>
              <a:ext uri="{FF2B5EF4-FFF2-40B4-BE49-F238E27FC236}">
                <a16:creationId xmlns:a16="http://schemas.microsoft.com/office/drawing/2014/main" id="{C51423D5-F35D-42DB-A76B-9D65E1186E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8248" y="380847"/>
            <a:ext cx="295211" cy="282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顶部对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646784"/>
              </p:ext>
            </p:extLst>
          </p:nvPr>
        </p:nvGraphicFramePr>
        <p:xfrm>
          <a:off x="1125" y="838"/>
          <a:ext cx="1117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59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5" y="838"/>
                        <a:ext cx="1117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标题文本"/>
          <p:cNvSpPr txBox="1">
            <a:spLocks noGrp="1"/>
          </p:cNvSpPr>
          <p:nvPr>
            <p:ph type="title" hasCustomPrompt="1"/>
          </p:nvPr>
        </p:nvSpPr>
        <p:spPr>
          <a:xfrm>
            <a:off x="707231" y="133945"/>
            <a:ext cx="7767042" cy="58333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9"/>
            </a:lvl1pPr>
          </a:lstStyle>
          <a:p>
            <a:r>
              <a:rPr dirty="0" err="1"/>
              <a:t>标题文本</a:t>
            </a:r>
            <a:endParaRPr dirty="0"/>
          </a:p>
        </p:txBody>
      </p:sp>
      <p:sp>
        <p:nvSpPr>
          <p:cNvPr id="49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15" name="矩形"/>
          <p:cNvSpPr/>
          <p:nvPr userDrawn="1"/>
        </p:nvSpPr>
        <p:spPr>
          <a:xfrm>
            <a:off x="0" y="-17545"/>
            <a:ext cx="9144000" cy="5182099"/>
          </a:xfrm>
          <a:prstGeom prst="rect">
            <a:avLst/>
          </a:prstGeom>
          <a:solidFill>
            <a:srgbClr val="1C1F2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35285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88"/>
          </a:p>
        </p:txBody>
      </p:sp>
      <p:pic>
        <p:nvPicPr>
          <p:cNvPr id="16" name="patrick-tomasso-5eZu5p0vSPg-unsplash.jpg" descr="patrick-tomasso-5eZu5p0vSPg-unsplash.jpg"/>
          <p:cNvPicPr>
            <a:picLocks noChangeAspect="1"/>
          </p:cNvPicPr>
          <p:nvPr userDrawn="1"/>
        </p:nvPicPr>
        <p:blipFill rotWithShape="1">
          <a:blip r:embed="rId6">
            <a:alphaModFix amt="30026"/>
          </a:blip>
          <a:srcRect l="11971" t="9004" r="15214" b="22474"/>
          <a:stretch/>
        </p:blipFill>
        <p:spPr>
          <a:xfrm>
            <a:off x="-11279" y="6"/>
            <a:ext cx="9147760" cy="5168879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17" name="logo用法_画板 1 副本 6.png" descr="logo用法_画板 1 副本 6.png"/>
          <p:cNvPicPr>
            <a:picLocks noChangeAspect="1"/>
          </p:cNvPicPr>
          <p:nvPr userDrawn="1"/>
        </p:nvPicPr>
        <p:blipFill>
          <a:blip r:embed="rId7"/>
          <a:srcRect l="14176" r="14176"/>
          <a:stretch>
            <a:fillRect/>
          </a:stretch>
        </p:blipFill>
        <p:spPr>
          <a:xfrm>
            <a:off x="3904760" y="1573097"/>
            <a:ext cx="1688607" cy="1739014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18" name="Above Data"/>
          <p:cNvSpPr txBox="1"/>
          <p:nvPr userDrawn="1"/>
        </p:nvSpPr>
        <p:spPr>
          <a:xfrm>
            <a:off x="3634064" y="3194541"/>
            <a:ext cx="2108199" cy="339754"/>
          </a:xfrm>
          <a:prstGeom prst="rect">
            <a:avLst/>
          </a:prstGeom>
          <a:ln w="12700">
            <a:miter lim="400000"/>
          </a:ln>
        </p:spPr>
        <p:txBody>
          <a:bodyPr lIns="26789" tIns="26789" rIns="26789" bIns="26789" anchor="ctr"/>
          <a:lstStyle>
            <a:lvl1pPr defTabSz="825500">
              <a:defRPr sz="2000">
                <a:solidFill>
                  <a:srgbClr val="D6D5D5"/>
                </a:solidFill>
              </a:defRPr>
            </a:lvl1pPr>
          </a:lstStyle>
          <a:p>
            <a:pPr algn="ctr"/>
            <a:r>
              <a:rPr sz="1055"/>
              <a:t>Above Data</a:t>
            </a:r>
          </a:p>
        </p:txBody>
      </p:sp>
    </p:spTree>
    <p:extLst>
      <p:ext uri="{BB962C8B-B14F-4D97-AF65-F5344CB8AC3E}">
        <p14:creationId xmlns:p14="http://schemas.microsoft.com/office/powerpoint/2010/main" val="2453600470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69151237"/>
              </p:ext>
            </p:extLst>
          </p:nvPr>
        </p:nvGraphicFramePr>
        <p:xfrm>
          <a:off x="1201" y="1207"/>
          <a:ext cx="119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97" name="think-cell 幻灯片" r:id="rId8" imgW="420" imgH="420" progId="TCLayout.ActiveDocument.1">
                  <p:embed/>
                </p:oleObj>
              </mc:Choice>
              <mc:Fallback>
                <p:oleObj name="think-cell 幻灯片" r:id="rId8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01" y="1207"/>
                        <a:ext cx="119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id-3227320_1920.jpg" descr="grid-3227320_1920.jpg"/>
          <p:cNvPicPr>
            <a:picLocks noChangeAspect="1"/>
          </p:cNvPicPr>
          <p:nvPr userDrawn="1"/>
        </p:nvPicPr>
        <p:blipFill rotWithShape="1">
          <a:blip r:embed="rId10"/>
          <a:srcRect l="12430" t="92812" r="12406"/>
          <a:stretch/>
        </p:blipFill>
        <p:spPr>
          <a:xfrm>
            <a:off x="-8571" y="4773821"/>
            <a:ext cx="9152573" cy="369689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11" name="矩形"/>
          <p:cNvSpPr/>
          <p:nvPr userDrawn="1"/>
        </p:nvSpPr>
        <p:spPr>
          <a:xfrm>
            <a:off x="-8930" y="4775158"/>
            <a:ext cx="9152930" cy="368351"/>
          </a:xfrm>
          <a:prstGeom prst="rect">
            <a:avLst/>
          </a:prstGeom>
          <a:gradFill>
            <a:gsLst>
              <a:gs pos="0">
                <a:srgbClr val="0C2B3E">
                  <a:alpha val="79622"/>
                </a:srgbClr>
              </a:gs>
              <a:gs pos="100000">
                <a:srgbClr val="020408">
                  <a:alpha val="79622"/>
                </a:srgbClr>
              </a:gs>
            </a:gsLst>
            <a:lin ang="5400000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435285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88"/>
          </a:p>
        </p:txBody>
      </p:sp>
      <p:pic>
        <p:nvPicPr>
          <p:cNvPr id="12" name="logo用法_画板 1 副本 8.png" descr="logo用法_画板 1 副本 8.pn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81000" y="4780406"/>
            <a:ext cx="924880" cy="3630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14" name="Slide Number Placeholder 16"/>
          <p:cNvSpPr>
            <a:spLocks noGrp="1"/>
          </p:cNvSpPr>
          <p:nvPr>
            <p:ph type="sldNum" sz="quarter" idx="4"/>
          </p:nvPr>
        </p:nvSpPr>
        <p:spPr bwMode="auto">
          <a:xfrm>
            <a:off x="8458200" y="4914900"/>
            <a:ext cx="381000" cy="11430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chemeClr val="bg1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 dirty="0"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4" r:id="rId2"/>
    <p:sldLayoutId id="2147483703" r:id="rId3"/>
    <p:sldLayoutId id="2147484137" r:id="rId4"/>
  </p:sldLayoutIdLst>
  <p:hf hdr="0"/>
  <p:txStyles>
    <p:titleStyle>
      <a:lvl1pPr algn="ctr" defTabSz="633038" rtl="0" eaLnBrk="1" latinLnBrk="0" hangingPunct="1">
        <a:spcBef>
          <a:spcPct val="0"/>
        </a:spcBef>
        <a:buNone/>
        <a:defRPr sz="304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7388" indent="-237388" algn="l" defTabSz="633038" rtl="0" eaLnBrk="1" latinLnBrk="0" hangingPunct="1">
        <a:spcBef>
          <a:spcPct val="20000"/>
        </a:spcBef>
        <a:buFont typeface="Arial" pitchFamily="34" charset="0"/>
        <a:buChar char="•"/>
        <a:defRPr sz="2216" kern="1200">
          <a:solidFill>
            <a:schemeClr val="tx1"/>
          </a:solidFill>
          <a:latin typeface="+mn-lt"/>
          <a:ea typeface="+mn-ea"/>
          <a:cs typeface="+mn-cs"/>
        </a:defRPr>
      </a:lvl1pPr>
      <a:lvl2pPr marL="514346" indent="-197824" algn="l" defTabSz="633038" rtl="0" eaLnBrk="1" latinLnBrk="0" hangingPunct="1">
        <a:spcBef>
          <a:spcPct val="20000"/>
        </a:spcBef>
        <a:buFont typeface="Arial" pitchFamily="34" charset="0"/>
        <a:buChar char="–"/>
        <a:defRPr sz="1939" kern="1200">
          <a:solidFill>
            <a:schemeClr val="tx1"/>
          </a:solidFill>
          <a:latin typeface="+mn-lt"/>
          <a:ea typeface="+mn-ea"/>
          <a:cs typeface="+mn-cs"/>
        </a:defRPr>
      </a:lvl2pPr>
      <a:lvl3pPr marL="791295" indent="-158259" algn="l" defTabSz="633038" rtl="0" eaLnBrk="1" latinLnBrk="0" hangingPunct="1">
        <a:spcBef>
          <a:spcPct val="20000"/>
        </a:spcBef>
        <a:buFont typeface="Arial" pitchFamily="34" charset="0"/>
        <a:buChar char="•"/>
        <a:defRPr sz="1663" kern="1200">
          <a:solidFill>
            <a:schemeClr val="tx1"/>
          </a:solidFill>
          <a:latin typeface="+mn-lt"/>
          <a:ea typeface="+mn-ea"/>
          <a:cs typeface="+mn-cs"/>
        </a:defRPr>
      </a:lvl3pPr>
      <a:lvl4pPr marL="1107812" indent="-158259" algn="l" defTabSz="633038" rtl="0" eaLnBrk="1" latinLnBrk="0" hangingPunct="1">
        <a:spcBef>
          <a:spcPct val="20000"/>
        </a:spcBef>
        <a:buFont typeface="Arial" pitchFamily="34" charset="0"/>
        <a:buChar char="–"/>
        <a:defRPr sz="1385" kern="1200">
          <a:solidFill>
            <a:schemeClr val="tx1"/>
          </a:solidFill>
          <a:latin typeface="+mn-lt"/>
          <a:ea typeface="+mn-ea"/>
          <a:cs typeface="+mn-cs"/>
        </a:defRPr>
      </a:lvl4pPr>
      <a:lvl5pPr marL="1424333" indent="-158259" algn="l" defTabSz="633038" rtl="0" eaLnBrk="1" latinLnBrk="0" hangingPunct="1">
        <a:spcBef>
          <a:spcPct val="20000"/>
        </a:spcBef>
        <a:buFont typeface="Arial" pitchFamily="34" charset="0"/>
        <a:buChar char="»"/>
        <a:defRPr sz="1385" kern="1200">
          <a:solidFill>
            <a:schemeClr val="tx1"/>
          </a:solidFill>
          <a:latin typeface="+mn-lt"/>
          <a:ea typeface="+mn-ea"/>
          <a:cs typeface="+mn-cs"/>
        </a:defRPr>
      </a:lvl5pPr>
      <a:lvl6pPr marL="1740848" indent="-158259" algn="l" defTabSz="633038" rtl="0" eaLnBrk="1" latinLnBrk="0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6pPr>
      <a:lvl7pPr marL="2057368" indent="-158259" algn="l" defTabSz="633038" rtl="0" eaLnBrk="1" latinLnBrk="0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7pPr>
      <a:lvl8pPr marL="2373885" indent="-158259" algn="l" defTabSz="633038" rtl="0" eaLnBrk="1" latinLnBrk="0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8pPr>
      <a:lvl9pPr marL="2690402" indent="-158259" algn="l" defTabSz="633038" rtl="0" eaLnBrk="1" latinLnBrk="0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1pPr>
      <a:lvl2pPr marL="316519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2pPr>
      <a:lvl3pPr marL="633038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3pPr>
      <a:lvl4pPr marL="949554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4pPr>
      <a:lvl5pPr marL="1266072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5pPr>
      <a:lvl6pPr marL="1582591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6pPr>
      <a:lvl7pPr marL="1899107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7pPr>
      <a:lvl8pPr marL="2215625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8pPr>
      <a:lvl9pPr marL="2532144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26.xml"/><Relationship Id="rId7" Type="http://schemas.openxmlformats.org/officeDocument/2006/relationships/image" Target="../media/image6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28.xml"/><Relationship Id="rId7" Type="http://schemas.openxmlformats.org/officeDocument/2006/relationships/image" Target="../media/image6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30.xml"/><Relationship Id="rId7" Type="http://schemas.openxmlformats.org/officeDocument/2006/relationships/image" Target="../media/image6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32.xml"/><Relationship Id="rId7" Type="http://schemas.openxmlformats.org/officeDocument/2006/relationships/image" Target="../media/image6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8.xlsx"/><Relationship Id="rId3" Type="http://schemas.openxmlformats.org/officeDocument/2006/relationships/tags" Target="../tags/tag34.xml"/><Relationship Id="rId7" Type="http://schemas.openxmlformats.org/officeDocument/2006/relationships/image" Target="../media/image6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6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9.xlsx"/><Relationship Id="rId3" Type="http://schemas.openxmlformats.org/officeDocument/2006/relationships/tags" Target="../tags/tag36.xml"/><Relationship Id="rId7" Type="http://schemas.openxmlformats.org/officeDocument/2006/relationships/image" Target="../media/image6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20.xlsx"/><Relationship Id="rId3" Type="http://schemas.openxmlformats.org/officeDocument/2006/relationships/tags" Target="../tags/tag38.xml"/><Relationship Id="rId7" Type="http://schemas.openxmlformats.org/officeDocument/2006/relationships/image" Target="../media/image6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8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40.xml"/><Relationship Id="rId7" Type="http://schemas.openxmlformats.org/officeDocument/2006/relationships/image" Target="../media/image6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42.xml"/><Relationship Id="rId7" Type="http://schemas.openxmlformats.org/officeDocument/2006/relationships/image" Target="../media/image6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44.xml"/><Relationship Id="rId7" Type="http://schemas.openxmlformats.org/officeDocument/2006/relationships/image" Target="../media/image6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Relationship Id="rId9" Type="http://schemas.openxmlformats.org/officeDocument/2006/relationships/chart" Target="../charts/char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46.xml"/><Relationship Id="rId7" Type="http://schemas.openxmlformats.org/officeDocument/2006/relationships/image" Target="../media/image6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25.xlsx"/><Relationship Id="rId3" Type="http://schemas.openxmlformats.org/officeDocument/2006/relationships/tags" Target="../tags/tag48.xml"/><Relationship Id="rId7" Type="http://schemas.openxmlformats.org/officeDocument/2006/relationships/image" Target="../media/image6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9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26.xlsx"/><Relationship Id="rId3" Type="http://schemas.openxmlformats.org/officeDocument/2006/relationships/tags" Target="../tags/tag50.xml"/><Relationship Id="rId7" Type="http://schemas.openxmlformats.org/officeDocument/2006/relationships/image" Target="../media/image6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0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52.xml"/><Relationship Id="rId7" Type="http://schemas.openxmlformats.org/officeDocument/2006/relationships/image" Target="../media/image6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tags" Target="../tags/tag54.xml"/><Relationship Id="rId7" Type="http://schemas.openxmlformats.org/officeDocument/2006/relationships/image" Target="../media/image6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56.xml"/><Relationship Id="rId7" Type="http://schemas.openxmlformats.org/officeDocument/2006/relationships/package" Target="../embeddings/Microsoft_Excel_Worksheet29.xlsx"/><Relationship Id="rId2" Type="http://schemas.openxmlformats.org/officeDocument/2006/relationships/tags" Target="../tags/tag5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58.xml"/><Relationship Id="rId7" Type="http://schemas.openxmlformats.org/officeDocument/2006/relationships/package" Target="../embeddings/Microsoft_Excel_Worksheet30.xlsx"/><Relationship Id="rId2" Type="http://schemas.openxmlformats.org/officeDocument/2006/relationships/tags" Target="../tags/tag5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9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chart" Target="../charts/chart20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Relationship Id="rId9" Type="http://schemas.openxmlformats.org/officeDocument/2006/relationships/chart" Target="../charts/char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34.xlsx"/><Relationship Id="rId3" Type="http://schemas.openxmlformats.org/officeDocument/2006/relationships/tags" Target="../tags/tag66.xml"/><Relationship Id="rId7" Type="http://schemas.openxmlformats.org/officeDocument/2006/relationships/chart" Target="../charts/chart2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3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36.xlsx"/><Relationship Id="rId3" Type="http://schemas.openxmlformats.org/officeDocument/2006/relationships/tags" Target="../tags/tag68.xml"/><Relationship Id="rId7" Type="http://schemas.openxmlformats.org/officeDocument/2006/relationships/chart" Target="../charts/chart2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4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70.xml"/><Relationship Id="rId7" Type="http://schemas.openxmlformats.org/officeDocument/2006/relationships/package" Target="../embeddings/Microsoft_Excel_Worksheet37.xlsx"/><Relationship Id="rId2" Type="http://schemas.openxmlformats.org/officeDocument/2006/relationships/tags" Target="../tags/tag6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tags" Target="../tags/tag72.xml"/><Relationship Id="rId7" Type="http://schemas.openxmlformats.org/officeDocument/2006/relationships/package" Target="../embeddings/Microsoft_Excel_Worksheet38.xlsx"/><Relationship Id="rId2" Type="http://schemas.openxmlformats.org/officeDocument/2006/relationships/tags" Target="../tags/tag7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chart" Target="../charts/chart2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chart" Target="../charts/chart2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tags" Target="../tags/tag78.xml"/><Relationship Id="rId7" Type="http://schemas.openxmlformats.org/officeDocument/2006/relationships/package" Target="../embeddings/Microsoft_Excel_Worksheet41.xlsx"/><Relationship Id="rId2" Type="http://schemas.openxmlformats.org/officeDocument/2006/relationships/tags" Target="../tags/tag77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1.bin"/><Relationship Id="rId10" Type="http://schemas.openxmlformats.org/officeDocument/2006/relationships/image" Target="../media/image28.emf"/><Relationship Id="rId4" Type="http://schemas.openxmlformats.org/officeDocument/2006/relationships/slideLayout" Target="../slideLayouts/slideLayout3.xml"/><Relationship Id="rId9" Type="http://schemas.openxmlformats.org/officeDocument/2006/relationships/package" Target="../embeddings/Microsoft_Excel_Worksheet42.xlsx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tags" Target="../tags/tag80.xml"/><Relationship Id="rId7" Type="http://schemas.openxmlformats.org/officeDocument/2006/relationships/package" Target="../embeddings/Microsoft_Excel_Worksheet43.xlsx"/><Relationship Id="rId2" Type="http://schemas.openxmlformats.org/officeDocument/2006/relationships/tags" Target="../tags/tag79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82.xml"/><Relationship Id="rId7" Type="http://schemas.openxmlformats.org/officeDocument/2006/relationships/package" Target="../embeddings/Microsoft_Excel_Worksheet44.xlsx"/><Relationship Id="rId2" Type="http://schemas.openxmlformats.org/officeDocument/2006/relationships/tags" Target="../tags/tag81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31.emf"/><Relationship Id="rId4" Type="http://schemas.openxmlformats.org/officeDocument/2006/relationships/slideLayout" Target="../slideLayouts/slideLayout3.xml"/><Relationship Id="rId9" Type="http://schemas.openxmlformats.org/officeDocument/2006/relationships/package" Target="../embeddings/Microsoft_Excel_Worksheet45.xlsx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emf"/><Relationship Id="rId3" Type="http://schemas.openxmlformats.org/officeDocument/2006/relationships/tags" Target="../tags/tag84.xml"/><Relationship Id="rId7" Type="http://schemas.openxmlformats.org/officeDocument/2006/relationships/package" Target="../embeddings/Microsoft_Excel_Worksheet46.xlsx"/><Relationship Id="rId2" Type="http://schemas.openxmlformats.org/officeDocument/2006/relationships/tags" Target="../tags/tag8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4.xlsx"/><Relationship Id="rId3" Type="http://schemas.openxmlformats.org/officeDocument/2006/relationships/tags" Target="../tags/tag14.xml"/><Relationship Id="rId7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10" Type="http://schemas.openxmlformats.org/officeDocument/2006/relationships/chart" Target="../charts/chart5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chart" Target="../charts/chart2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chart" Target="../charts/chart26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chart" Target="../charts/chart27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chart" Target="../charts/chart28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8.bin"/><Relationship Id="rId4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6.xlsx"/><Relationship Id="rId3" Type="http://schemas.openxmlformats.org/officeDocument/2006/relationships/tags" Target="../tags/tag16.xml"/><Relationship Id="rId7" Type="http://schemas.openxmlformats.org/officeDocument/2006/relationships/image" Target="../media/image6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4.xml"/><Relationship Id="rId10" Type="http://schemas.openxmlformats.org/officeDocument/2006/relationships/chart" Target="../charts/chart6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8.xlsx"/><Relationship Id="rId3" Type="http://schemas.openxmlformats.org/officeDocument/2006/relationships/tags" Target="../tags/tag18.xml"/><Relationship Id="rId7" Type="http://schemas.openxmlformats.org/officeDocument/2006/relationships/image" Target="../media/image6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5.xml"/><Relationship Id="rId10" Type="http://schemas.openxmlformats.org/officeDocument/2006/relationships/chart" Target="../charts/chart7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0.xlsx"/><Relationship Id="rId3" Type="http://schemas.openxmlformats.org/officeDocument/2006/relationships/tags" Target="../tags/tag20.xml"/><Relationship Id="rId7" Type="http://schemas.openxmlformats.org/officeDocument/2006/relationships/image" Target="../media/image6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6.xml"/><Relationship Id="rId10" Type="http://schemas.openxmlformats.org/officeDocument/2006/relationships/chart" Target="../charts/chart8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2.xlsx"/><Relationship Id="rId3" Type="http://schemas.openxmlformats.org/officeDocument/2006/relationships/tags" Target="../tags/tag22.xml"/><Relationship Id="rId7" Type="http://schemas.openxmlformats.org/officeDocument/2006/relationships/image" Target="../media/image6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3.xlsx"/><Relationship Id="rId3" Type="http://schemas.openxmlformats.org/officeDocument/2006/relationships/tags" Target="../tags/tag24.xml"/><Relationship Id="rId7" Type="http://schemas.openxmlformats.org/officeDocument/2006/relationships/image" Target="../media/image6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195456"/>
              </p:ext>
            </p:extLst>
          </p:nvPr>
        </p:nvGraphicFramePr>
        <p:xfrm>
          <a:off x="1143904" y="-444386"/>
          <a:ext cx="893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27" name="think-cell 幻灯片" r:id="rId5" imgW="420" imgH="420" progId="TCLayout.ActiveDocument.1">
                  <p:embed/>
                </p:oleObj>
              </mc:Choice>
              <mc:Fallback>
                <p:oleObj name="think-cell 幻灯片" r:id="rId5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3904" y="-444386"/>
                        <a:ext cx="893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矩形 5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zh-CN" sz="33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28650" y="1257880"/>
            <a:ext cx="4229100" cy="1102519"/>
          </a:xfrm>
        </p:spPr>
        <p:txBody>
          <a:bodyPr>
            <a:normAutofit/>
          </a:bodyPr>
          <a:lstStyle/>
          <a:p>
            <a:r>
              <a:rPr lang="en-US" altLang="zh-CN" sz="3300" dirty="0">
                <a:solidFill>
                  <a:srgbClr val="F5C924"/>
                </a:solidFill>
              </a:rPr>
              <a:t>MAX Data Analysis</a:t>
            </a:r>
            <a:endParaRPr lang="zh-CN" altLang="en-US" sz="3300" dirty="0">
              <a:solidFill>
                <a:srgbClr val="F5C924"/>
              </a:solidFill>
            </a:endParaRPr>
          </a:p>
        </p:txBody>
      </p:sp>
      <p:pic>
        <p:nvPicPr>
          <p:cNvPr id="16" name="logo用法_画板 1 副本 8.png" descr="logo用法_画板 1 副本 8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97335" y="3886200"/>
            <a:ext cx="1091731" cy="571467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064207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6491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12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olecule trend by MTH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0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2156219897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5010244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6491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35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olecule trend by MTH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1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401458201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291287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61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olecule trend by MTH _ Value Shar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2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2396901144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2627988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84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olecule trend by MTH _ Volume Shar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3</a:t>
            </a:fld>
            <a:endParaRPr lang="en-US" dirty="0">
              <a:ea typeface="+mn-ea"/>
            </a:endParaRPr>
          </a:p>
        </p:txBody>
      </p:sp>
      <p:graphicFrame>
        <p:nvGraphicFramePr>
          <p:cNvPr id="7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3615811966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0764171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0911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82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矩形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oduct ranking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4</a:t>
            </a:fld>
            <a:endParaRPr lang="en-US" dirty="0">
              <a:ea typeface="+mn-ea"/>
            </a:endParaRPr>
          </a:p>
        </p:txBody>
      </p:sp>
      <p:graphicFrame>
        <p:nvGraphicFramePr>
          <p:cNvPr id="8" name="对象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3119445"/>
              </p:ext>
            </p:extLst>
          </p:nvPr>
        </p:nvGraphicFramePr>
        <p:xfrm>
          <a:off x="914400" y="895350"/>
          <a:ext cx="7300913" cy="3667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83" name="Worksheet" r:id="rId8" imgW="6010234" imgH="3019477" progId="Excel.Sheet.12">
                  <p:embed/>
                </p:oleObj>
              </mc:Choice>
              <mc:Fallback>
                <p:oleObj name="Worksheet" r:id="rId8" imgW="6010234" imgH="301947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14400" y="895350"/>
                        <a:ext cx="7300913" cy="3667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682311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" name="对象 1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10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337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矩形 1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performance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5</a:t>
            </a:fld>
            <a:endParaRPr lang="en-US" dirty="0">
              <a:ea typeface="+mn-ea"/>
            </a:endParaRPr>
          </a:p>
        </p:txBody>
      </p:sp>
      <p:graphicFrame>
        <p:nvGraphicFramePr>
          <p:cNvPr id="11" name="对象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62834194"/>
              </p:ext>
            </p:extLst>
          </p:nvPr>
        </p:nvGraphicFramePr>
        <p:xfrm>
          <a:off x="304800" y="1025525"/>
          <a:ext cx="8618538" cy="3470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338" name="Worksheet" r:id="rId8" imgW="7095919" imgH="2857579" progId="Excel.Sheet.12">
                  <p:embed/>
                </p:oleObj>
              </mc:Choice>
              <mc:Fallback>
                <p:oleObj name="Worksheet" r:id="rId8" imgW="7095919" imgH="285757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04800" y="1025525"/>
                        <a:ext cx="8618538" cy="34702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椭圆 6">
            <a:extLst>
              <a:ext uri="{FF2B5EF4-FFF2-40B4-BE49-F238E27FC236}">
                <a16:creationId xmlns:a16="http://schemas.microsoft.com/office/drawing/2014/main" id="{57FA7DC5-45B7-4556-8F0D-6B05C0EA2953}"/>
              </a:ext>
            </a:extLst>
          </p:cNvPr>
          <p:cNvSpPr/>
          <p:nvPr/>
        </p:nvSpPr>
        <p:spPr>
          <a:xfrm>
            <a:off x="4648200" y="965200"/>
            <a:ext cx="762000" cy="3810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6DADC81F-8065-4689-A27A-D652A4B2018A}"/>
              </a:ext>
            </a:extLst>
          </p:cNvPr>
          <p:cNvSpPr/>
          <p:nvPr/>
        </p:nvSpPr>
        <p:spPr>
          <a:xfrm>
            <a:off x="4191000" y="1346200"/>
            <a:ext cx="2362200" cy="168275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925641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" name="对象 1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10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58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矩形 1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performance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6</a:t>
            </a:fld>
            <a:endParaRPr lang="en-US" dirty="0">
              <a:ea typeface="+mn-ea"/>
            </a:endParaRPr>
          </a:p>
        </p:txBody>
      </p:sp>
      <p:graphicFrame>
        <p:nvGraphicFramePr>
          <p:cNvPr id="11" name="对象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5363524"/>
              </p:ext>
            </p:extLst>
          </p:nvPr>
        </p:nvGraphicFramePr>
        <p:xfrm>
          <a:off x="304800" y="1025525"/>
          <a:ext cx="8618538" cy="3470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59" name="Worksheet" r:id="rId8" imgW="7095919" imgH="2857579" progId="Excel.Sheet.12">
                  <p:embed/>
                </p:oleObj>
              </mc:Choice>
              <mc:Fallback>
                <p:oleObj name="Worksheet" r:id="rId8" imgW="7095919" imgH="285757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04800" y="1025525"/>
                        <a:ext cx="8618538" cy="34702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椭圆 6">
            <a:extLst>
              <a:ext uri="{FF2B5EF4-FFF2-40B4-BE49-F238E27FC236}">
                <a16:creationId xmlns:a16="http://schemas.microsoft.com/office/drawing/2014/main" id="{4F7CCCB3-0EC5-4979-9CFF-8EE612038B85}"/>
              </a:ext>
            </a:extLst>
          </p:cNvPr>
          <p:cNvSpPr/>
          <p:nvPr/>
        </p:nvSpPr>
        <p:spPr>
          <a:xfrm>
            <a:off x="4648200" y="965200"/>
            <a:ext cx="762000" cy="3810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537889A2-D788-4DBB-A9F8-512E9FD15A7E}"/>
              </a:ext>
            </a:extLst>
          </p:cNvPr>
          <p:cNvSpPr/>
          <p:nvPr/>
        </p:nvSpPr>
        <p:spPr>
          <a:xfrm>
            <a:off x="4191000" y="1346200"/>
            <a:ext cx="2362200" cy="168275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525403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55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trend by MTH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7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1204880911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689352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80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trend by MTH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8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1283627022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0051429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99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trend by MTH _ Value Shar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9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225162794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244399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6EDDD48F-F40A-4490-8AE2-7D551F17D4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5968436"/>
              </p:ext>
            </p:extLst>
          </p:nvPr>
        </p:nvGraphicFramePr>
        <p:xfrm>
          <a:off x="1143844" y="844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41" name="think-cell 幻灯片" r:id="rId6" imgW="421" imgH="423" progId="TCLayout.ActiveDocument.1">
                  <p:embed/>
                </p:oleObj>
              </mc:Choice>
              <mc:Fallback>
                <p:oleObj name="think-cell 幻灯片" r:id="rId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3844" y="844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 bwMode="auto">
          <a:xfrm>
            <a:off x="1088077" y="-90510"/>
            <a:ext cx="228909" cy="300083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accent2"/>
              </a:buClr>
            </a:pPr>
            <a:endParaRPr lang="en-US" altLang="zh-CN" sz="700" b="1" dirty="0"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0981E5EC-501B-4973-96AA-40EF6FE3C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114309"/>
            <a:ext cx="6743700" cy="594121"/>
          </a:xfrm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Market value size</a:t>
            </a:r>
            <a:endParaRPr lang="zh-CN" altLang="en-US" sz="1800" dirty="0">
              <a:sym typeface="Helvetica Neue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6CB4B4D-7CA3-9044-876B-883B54F8677D}" type="slidenum">
              <a:rPr lang="en-US" altLang="zh-CN" smtClean="0"/>
              <a:t>2</a:t>
            </a:fld>
            <a:endParaRPr lang="en-US" altLang="zh-CN" dirty="0"/>
          </a:p>
        </p:txBody>
      </p:sp>
      <p:sp>
        <p:nvSpPr>
          <p:cNvPr id="198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914400" y="895350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et value size by MAT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5334000" y="899528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et value size by YTD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8" name="直接连接符 107">
            <a:extLst>
              <a:ext uri="{FF2B5EF4-FFF2-40B4-BE49-F238E27FC236}">
                <a16:creationId xmlns:a16="http://schemas.microsoft.com/office/drawing/2014/main" id="{830CBA6F-E043-4993-A195-5F2D668B226E}"/>
              </a:ext>
            </a:extLst>
          </p:cNvPr>
          <p:cNvCxnSpPr/>
          <p:nvPr/>
        </p:nvCxnSpPr>
        <p:spPr>
          <a:xfrm>
            <a:off x="4563708" y="971550"/>
            <a:ext cx="0" cy="37829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2" name="图表 111"/>
          <p:cNvGraphicFramePr/>
          <p:nvPr>
            <p:extLst>
              <p:ext uri="{D42A27DB-BD31-4B8C-83A1-F6EECF244321}">
                <p14:modId xmlns:p14="http://schemas.microsoft.com/office/powerpoint/2010/main" val="4200358698"/>
              </p:ext>
            </p:extLst>
          </p:nvPr>
        </p:nvGraphicFramePr>
        <p:xfrm>
          <a:off x="190614" y="1318317"/>
          <a:ext cx="4239984" cy="325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3" name="图表 112"/>
          <p:cNvGraphicFramePr/>
          <p:nvPr>
            <p:extLst>
              <p:ext uri="{D42A27DB-BD31-4B8C-83A1-F6EECF244321}">
                <p14:modId xmlns:p14="http://schemas.microsoft.com/office/powerpoint/2010/main" val="1510377594"/>
              </p:ext>
            </p:extLst>
          </p:nvPr>
        </p:nvGraphicFramePr>
        <p:xfrm>
          <a:off x="4565546" y="1323058"/>
          <a:ext cx="4239984" cy="325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椭圆 5">
            <a:extLst>
              <a:ext uri="{FF2B5EF4-FFF2-40B4-BE49-F238E27FC236}">
                <a16:creationId xmlns:a16="http://schemas.microsoft.com/office/drawing/2014/main" id="{03B7DC4B-E493-4B37-979A-CDB125CB3E00}"/>
              </a:ext>
            </a:extLst>
          </p:cNvPr>
          <p:cNvSpPr/>
          <p:nvPr/>
        </p:nvSpPr>
        <p:spPr>
          <a:xfrm>
            <a:off x="328458" y="1657350"/>
            <a:ext cx="2514597" cy="990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当不足一个</a:t>
            </a:r>
            <a:r>
              <a:rPr lang="en-US" altLang="zh-CN" dirty="0"/>
              <a:t>MAT</a:t>
            </a:r>
            <a:r>
              <a:rPr lang="zh-CN" altLang="en-US" dirty="0"/>
              <a:t>时，不需要出计算结果</a:t>
            </a:r>
          </a:p>
        </p:txBody>
      </p:sp>
    </p:spTree>
    <p:extLst>
      <p:ext uri="{BB962C8B-B14F-4D97-AF65-F5344CB8AC3E}">
        <p14:creationId xmlns:p14="http://schemas.microsoft.com/office/powerpoint/2010/main" val="1268993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23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trend by MTH _ Volume Shar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0</a:t>
            </a:fld>
            <a:endParaRPr lang="en-US" dirty="0">
              <a:ea typeface="+mn-ea"/>
            </a:endParaRPr>
          </a:p>
        </p:txBody>
      </p:sp>
      <p:graphicFrame>
        <p:nvGraphicFramePr>
          <p:cNvPr id="7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1937009151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7926213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178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94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17" name="对象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Region performance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1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02288178"/>
              </p:ext>
            </p:extLst>
          </p:nvPr>
        </p:nvGraphicFramePr>
        <p:xfrm>
          <a:off x="376238" y="852488"/>
          <a:ext cx="8432800" cy="3892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95" name="Worksheet" r:id="rId8" imgW="8991589" imgH="4152750" progId="Excel.Sheet.12">
                  <p:embed/>
                </p:oleObj>
              </mc:Choice>
              <mc:Fallback>
                <p:oleObj name="Worksheet" r:id="rId8" imgW="8991589" imgH="4152750" progId="Excel.Sheet.12">
                  <p:embed/>
                  <p:pic>
                    <p:nvPicPr>
                      <p:cNvPr id="10" name="对象 9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76238" y="852488"/>
                        <a:ext cx="8432800" cy="3892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椭圆 3">
            <a:extLst>
              <a:ext uri="{FF2B5EF4-FFF2-40B4-BE49-F238E27FC236}">
                <a16:creationId xmlns:a16="http://schemas.microsoft.com/office/drawing/2014/main" id="{A78CEB5E-5DCF-43A8-8094-09A2F780B3E9}"/>
              </a:ext>
            </a:extLst>
          </p:cNvPr>
          <p:cNvSpPr/>
          <p:nvPr/>
        </p:nvSpPr>
        <p:spPr>
          <a:xfrm>
            <a:off x="647700" y="2038350"/>
            <a:ext cx="2552700" cy="152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可以把其他放到</a:t>
            </a:r>
            <a:r>
              <a:rPr lang="en-US" altLang="zh-CN" dirty="0"/>
              <a:t>total</a:t>
            </a:r>
            <a:r>
              <a:rPr lang="zh-CN" altLang="en-US" dirty="0"/>
              <a:t>上面一行吗，固定住</a:t>
            </a:r>
          </a:p>
        </p:txBody>
      </p:sp>
    </p:spTree>
    <p:extLst>
      <p:ext uri="{BB962C8B-B14F-4D97-AF65-F5344CB8AC3E}">
        <p14:creationId xmlns:p14="http://schemas.microsoft.com/office/powerpoint/2010/main" val="23317093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15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18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17" name="对象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Region performance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2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89858326"/>
              </p:ext>
            </p:extLst>
          </p:nvPr>
        </p:nvGraphicFramePr>
        <p:xfrm>
          <a:off x="376238" y="852488"/>
          <a:ext cx="8432800" cy="3892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19" name="Worksheet" r:id="rId8" imgW="8991589" imgH="4152750" progId="Excel.Sheet.12">
                  <p:embed/>
                </p:oleObj>
              </mc:Choice>
              <mc:Fallback>
                <p:oleObj name="Worksheet" r:id="rId8" imgW="8991589" imgH="4152750" progId="Excel.Sheet.12">
                  <p:embed/>
                  <p:pic>
                    <p:nvPicPr>
                      <p:cNvPr id="10" name="对象 9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76238" y="852488"/>
                        <a:ext cx="8432800" cy="3892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椭圆 7">
            <a:extLst>
              <a:ext uri="{FF2B5EF4-FFF2-40B4-BE49-F238E27FC236}">
                <a16:creationId xmlns:a16="http://schemas.microsoft.com/office/drawing/2014/main" id="{749C275E-2578-4966-BCC2-6F175EE34945}"/>
              </a:ext>
            </a:extLst>
          </p:cNvPr>
          <p:cNvSpPr/>
          <p:nvPr/>
        </p:nvSpPr>
        <p:spPr>
          <a:xfrm>
            <a:off x="647700" y="2038350"/>
            <a:ext cx="2552700" cy="152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可以把其他放到</a:t>
            </a:r>
            <a:r>
              <a:rPr lang="en-US" altLang="zh-CN" dirty="0"/>
              <a:t>total</a:t>
            </a:r>
            <a:r>
              <a:rPr lang="zh-CN" altLang="en-US" dirty="0"/>
              <a:t>上面一行吗，固定住</a:t>
            </a:r>
          </a:p>
        </p:txBody>
      </p:sp>
    </p:spTree>
    <p:extLst>
      <p:ext uri="{BB962C8B-B14F-4D97-AF65-F5344CB8AC3E}">
        <p14:creationId xmlns:p14="http://schemas.microsoft.com/office/powerpoint/2010/main" val="5191141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317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32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17" name="对象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Region performance _ MAT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3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2683309621"/>
              </p:ext>
            </p:extLst>
          </p:nvPr>
        </p:nvGraphicFramePr>
        <p:xfrm>
          <a:off x="152400" y="9715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314077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0695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57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17" name="对象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133350"/>
            <a:ext cx="84963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Region performance _ MAT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4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2129254664"/>
              </p:ext>
            </p:extLst>
          </p:nvPr>
        </p:nvGraphicFramePr>
        <p:xfrm>
          <a:off x="152400" y="9715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3393059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32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98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Province performance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5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20967890"/>
              </p:ext>
            </p:extLst>
          </p:nvPr>
        </p:nvGraphicFramePr>
        <p:xfrm>
          <a:off x="181769" y="765580"/>
          <a:ext cx="8780462" cy="3892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99" name="Worksheet" r:id="rId7" imgW="9363169" imgH="4152928" progId="Excel.Sheet.12">
                  <p:embed/>
                </p:oleObj>
              </mc:Choice>
              <mc:Fallback>
                <p:oleObj name="Worksheet" r:id="rId7" imgW="9363169" imgH="415292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81769" y="765580"/>
                        <a:ext cx="8780462" cy="3892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椭圆 3">
            <a:extLst>
              <a:ext uri="{FF2B5EF4-FFF2-40B4-BE49-F238E27FC236}">
                <a16:creationId xmlns:a16="http://schemas.microsoft.com/office/drawing/2014/main" id="{94FEB56E-B7A3-4231-B0DF-41ADEA5F7F82}"/>
              </a:ext>
            </a:extLst>
          </p:cNvPr>
          <p:cNvSpPr/>
          <p:nvPr/>
        </p:nvSpPr>
        <p:spPr>
          <a:xfrm>
            <a:off x="6172200" y="637195"/>
            <a:ext cx="3048000" cy="414932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0000"/>
                </a:solidFill>
              </a:rPr>
              <a:t>增长率是对的</a:t>
            </a:r>
            <a:endParaRPr lang="en-US" altLang="zh-CN" dirty="0">
              <a:solidFill>
                <a:srgbClr val="FF0000"/>
              </a:solidFill>
            </a:endParaRPr>
          </a:p>
          <a:p>
            <a:pPr algn="ctr"/>
            <a:r>
              <a:rPr lang="en-US" altLang="zh-CN" dirty="0">
                <a:solidFill>
                  <a:srgbClr val="FF0000"/>
                </a:solidFill>
              </a:rPr>
              <a:t>CON</a:t>
            </a:r>
            <a:r>
              <a:rPr lang="zh-CN" altLang="en-US" dirty="0">
                <a:solidFill>
                  <a:srgbClr val="FF0000"/>
                </a:solidFill>
              </a:rPr>
              <a:t>不对</a:t>
            </a:r>
            <a:endParaRPr lang="en-US" altLang="zh-CN" dirty="0">
              <a:solidFill>
                <a:srgbClr val="FF0000"/>
              </a:solidFill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</a:rPr>
              <a:t>份额不对</a:t>
            </a:r>
            <a:endParaRPr lang="en-US" altLang="zh-CN" dirty="0">
              <a:solidFill>
                <a:srgbClr val="FF0000"/>
              </a:solidFill>
            </a:endParaRPr>
          </a:p>
          <a:p>
            <a:pPr algn="ctr"/>
            <a:r>
              <a:rPr lang="en-US" altLang="zh-CN" dirty="0">
                <a:solidFill>
                  <a:srgbClr val="FF0000"/>
                </a:solidFill>
              </a:rPr>
              <a:t>EI</a:t>
            </a:r>
            <a:r>
              <a:rPr lang="zh-CN" altLang="en-US" dirty="0">
                <a:solidFill>
                  <a:srgbClr val="FF0000"/>
                </a:solidFill>
              </a:rPr>
              <a:t>不对</a:t>
            </a:r>
          </a:p>
        </p:txBody>
      </p:sp>
    </p:spTree>
    <p:extLst>
      <p:ext uri="{BB962C8B-B14F-4D97-AF65-F5344CB8AC3E}">
        <p14:creationId xmlns:p14="http://schemas.microsoft.com/office/powerpoint/2010/main" val="15544355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32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62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Province performance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6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12058837"/>
              </p:ext>
            </p:extLst>
          </p:nvPr>
        </p:nvGraphicFramePr>
        <p:xfrm>
          <a:off x="376238" y="852488"/>
          <a:ext cx="8432800" cy="3892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621" name="Worksheet" r:id="rId7" imgW="8991589" imgH="4152750" progId="Excel.Sheet.12">
                  <p:embed/>
                </p:oleObj>
              </mc:Choice>
              <mc:Fallback>
                <p:oleObj name="Worksheet" r:id="rId7" imgW="8991589" imgH="415275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76238" y="852488"/>
                        <a:ext cx="8432800" cy="3892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椭圆 6">
            <a:extLst>
              <a:ext uri="{FF2B5EF4-FFF2-40B4-BE49-F238E27FC236}">
                <a16:creationId xmlns:a16="http://schemas.microsoft.com/office/drawing/2014/main" id="{4A0F8D3C-5148-474A-B617-08C969F25C4E}"/>
              </a:ext>
            </a:extLst>
          </p:cNvPr>
          <p:cNvSpPr/>
          <p:nvPr/>
        </p:nvSpPr>
        <p:spPr>
          <a:xfrm>
            <a:off x="6172200" y="637195"/>
            <a:ext cx="3048000" cy="414932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0000"/>
                </a:solidFill>
              </a:rPr>
              <a:t>增长率是对的</a:t>
            </a:r>
            <a:endParaRPr lang="en-US" altLang="zh-CN" dirty="0">
              <a:solidFill>
                <a:srgbClr val="FF0000"/>
              </a:solidFill>
            </a:endParaRPr>
          </a:p>
          <a:p>
            <a:pPr algn="ctr"/>
            <a:r>
              <a:rPr lang="en-US" altLang="zh-CN" dirty="0">
                <a:solidFill>
                  <a:srgbClr val="FF0000"/>
                </a:solidFill>
              </a:rPr>
              <a:t>CON</a:t>
            </a:r>
            <a:r>
              <a:rPr lang="zh-CN" altLang="en-US" dirty="0">
                <a:solidFill>
                  <a:srgbClr val="FF0000"/>
                </a:solidFill>
              </a:rPr>
              <a:t>不对</a:t>
            </a:r>
            <a:endParaRPr lang="en-US" altLang="zh-CN" dirty="0">
              <a:solidFill>
                <a:srgbClr val="FF0000"/>
              </a:solidFill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</a:rPr>
              <a:t>份额不对</a:t>
            </a:r>
            <a:endParaRPr lang="en-US" altLang="zh-CN" dirty="0">
              <a:solidFill>
                <a:srgbClr val="FF0000"/>
              </a:solidFill>
            </a:endParaRPr>
          </a:p>
          <a:p>
            <a:pPr algn="ctr"/>
            <a:r>
              <a:rPr lang="en-US" altLang="zh-CN" dirty="0">
                <a:solidFill>
                  <a:srgbClr val="FF0000"/>
                </a:solidFill>
              </a:rPr>
              <a:t>EI</a:t>
            </a:r>
            <a:r>
              <a:rPr lang="zh-CN" altLang="en-US" dirty="0">
                <a:solidFill>
                  <a:srgbClr val="FF0000"/>
                </a:solidFill>
              </a:rPr>
              <a:t>不对</a:t>
            </a:r>
          </a:p>
        </p:txBody>
      </p:sp>
    </p:spTree>
    <p:extLst>
      <p:ext uri="{BB962C8B-B14F-4D97-AF65-F5344CB8AC3E}">
        <p14:creationId xmlns:p14="http://schemas.microsoft.com/office/powerpoint/2010/main" val="19882852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4504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28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province _ MAT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7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1608940090"/>
              </p:ext>
            </p:extLst>
          </p:nvPr>
        </p:nvGraphicFramePr>
        <p:xfrm>
          <a:off x="152400" y="9715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952170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52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133350"/>
            <a:ext cx="84963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province _ MAT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8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794308123"/>
              </p:ext>
            </p:extLst>
          </p:nvPr>
        </p:nvGraphicFramePr>
        <p:xfrm>
          <a:off x="152400" y="9715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椭圆 6">
            <a:extLst>
              <a:ext uri="{FF2B5EF4-FFF2-40B4-BE49-F238E27FC236}">
                <a16:creationId xmlns:a16="http://schemas.microsoft.com/office/drawing/2014/main" id="{0C56283D-E156-4E49-9862-3C2C6CC46F57}"/>
              </a:ext>
            </a:extLst>
          </p:cNvPr>
          <p:cNvSpPr/>
          <p:nvPr/>
        </p:nvSpPr>
        <p:spPr>
          <a:xfrm>
            <a:off x="5334000" y="1504950"/>
            <a:ext cx="3352800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输出的表需要转置一下横纵坐标</a:t>
            </a:r>
            <a:endParaRPr lang="en-US" altLang="zh-CN" dirty="0"/>
          </a:p>
          <a:p>
            <a:r>
              <a:rPr lang="zh-CN" altLang="en-US" dirty="0"/>
              <a:t>产品信息不需要带出</a:t>
            </a:r>
            <a:r>
              <a:rPr lang="en-US" altLang="zh-CN" dirty="0"/>
              <a:t>share internal product</a:t>
            </a:r>
            <a:r>
              <a:rPr lang="zh-CN" altLang="en-US" dirty="0"/>
              <a:t>：等信息</a:t>
            </a:r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29055560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636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22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矩形 3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ity tiers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9</a:t>
            </a:fld>
            <a:endParaRPr lang="en-US" dirty="0">
              <a:ea typeface="+mn-ea"/>
            </a:endParaRPr>
          </a:p>
        </p:txBody>
      </p:sp>
      <p:sp>
        <p:nvSpPr>
          <p:cNvPr id="4" name="任意多边形 5"/>
          <p:cNvSpPr/>
          <p:nvPr/>
        </p:nvSpPr>
        <p:spPr>
          <a:xfrm>
            <a:off x="2139108" y="1418222"/>
            <a:ext cx="498054" cy="608905"/>
          </a:xfrm>
          <a:custGeom>
            <a:avLst/>
            <a:gdLst>
              <a:gd name="connsiteX0" fmla="*/ 0 w 598345"/>
              <a:gd name="connsiteY0" fmla="*/ 812799 h 812799"/>
              <a:gd name="connsiteX1" fmla="*/ 299173 w 598345"/>
              <a:gd name="connsiteY1" fmla="*/ 0 h 812799"/>
              <a:gd name="connsiteX2" fmla="*/ 299173 w 598345"/>
              <a:gd name="connsiteY2" fmla="*/ 0 h 812799"/>
              <a:gd name="connsiteX3" fmla="*/ 598345 w 598345"/>
              <a:gd name="connsiteY3" fmla="*/ 812799 h 812799"/>
              <a:gd name="connsiteX4" fmla="*/ 0 w 598345"/>
              <a:gd name="connsiteY4" fmla="*/ 812799 h 81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45" h="812799">
                <a:moveTo>
                  <a:pt x="0" y="812799"/>
                </a:moveTo>
                <a:lnTo>
                  <a:pt x="299173" y="0"/>
                </a:lnTo>
                <a:lnTo>
                  <a:pt x="299173" y="0"/>
                </a:lnTo>
                <a:lnTo>
                  <a:pt x="598345" y="812799"/>
                </a:lnTo>
                <a:lnTo>
                  <a:pt x="0" y="812799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23481" tIns="23481" rIns="23481" bIns="23481" numCol="1" spcCol="1270" anchor="ctr" anchorCtr="0">
            <a:noAutofit/>
          </a:bodyPr>
          <a:lstStyle/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altLang="zh-CN" sz="1000" dirty="0">
              <a:solidFill>
                <a:schemeClr val="bg1"/>
              </a:solidFill>
              <a:latin typeface="+mn-ea"/>
              <a:ea typeface="+mn-ea"/>
              <a:cs typeface="+mn-cs"/>
            </a:endParaRPr>
          </a:p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000" dirty="0">
                <a:solidFill>
                  <a:schemeClr val="bg1"/>
                </a:solidFill>
                <a:latin typeface="+mn-ea"/>
                <a:ea typeface="+mn-ea"/>
                <a:cs typeface="+mn-cs"/>
              </a:rPr>
              <a:t>一线</a:t>
            </a:r>
          </a:p>
        </p:txBody>
      </p:sp>
      <p:sp>
        <p:nvSpPr>
          <p:cNvPr id="5" name="任意多边形 6"/>
          <p:cNvSpPr/>
          <p:nvPr/>
        </p:nvSpPr>
        <p:spPr>
          <a:xfrm>
            <a:off x="1890082" y="2027128"/>
            <a:ext cx="996108" cy="608905"/>
          </a:xfrm>
          <a:custGeom>
            <a:avLst/>
            <a:gdLst>
              <a:gd name="connsiteX0" fmla="*/ 0 w 1196691"/>
              <a:gd name="connsiteY0" fmla="*/ 812799 h 812799"/>
              <a:gd name="connsiteX1" fmla="*/ 299175 w 1196691"/>
              <a:gd name="connsiteY1" fmla="*/ 0 h 812799"/>
              <a:gd name="connsiteX2" fmla="*/ 897516 w 1196691"/>
              <a:gd name="connsiteY2" fmla="*/ 0 h 812799"/>
              <a:gd name="connsiteX3" fmla="*/ 1196691 w 1196691"/>
              <a:gd name="connsiteY3" fmla="*/ 812799 h 812799"/>
              <a:gd name="connsiteX4" fmla="*/ 0 w 1196691"/>
              <a:gd name="connsiteY4" fmla="*/ 812799 h 81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6691" h="812799">
                <a:moveTo>
                  <a:pt x="0" y="812799"/>
                </a:moveTo>
                <a:lnTo>
                  <a:pt x="299175" y="0"/>
                </a:lnTo>
                <a:lnTo>
                  <a:pt x="897516" y="0"/>
                </a:lnTo>
                <a:lnTo>
                  <a:pt x="1196691" y="812799"/>
                </a:lnTo>
                <a:lnTo>
                  <a:pt x="0" y="81279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321324" tIns="23481" rIns="321324" bIns="23481" numCol="1" spcCol="1270" anchor="ctr" anchorCtr="0">
            <a:noAutofit/>
          </a:bodyPr>
          <a:lstStyle/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000" dirty="0">
                <a:solidFill>
                  <a:schemeClr val="bg1"/>
                </a:solidFill>
                <a:latin typeface="+mn-ea"/>
                <a:ea typeface="+mn-ea"/>
                <a:cs typeface="+mn-cs"/>
              </a:rPr>
              <a:t>二线</a:t>
            </a:r>
          </a:p>
        </p:txBody>
      </p:sp>
      <p:sp>
        <p:nvSpPr>
          <p:cNvPr id="6" name="任意多边形 7"/>
          <p:cNvSpPr/>
          <p:nvPr/>
        </p:nvSpPr>
        <p:spPr>
          <a:xfrm>
            <a:off x="1641054" y="2636034"/>
            <a:ext cx="1494162" cy="608905"/>
          </a:xfrm>
          <a:custGeom>
            <a:avLst/>
            <a:gdLst>
              <a:gd name="connsiteX0" fmla="*/ 0 w 1795037"/>
              <a:gd name="connsiteY0" fmla="*/ 812799 h 812799"/>
              <a:gd name="connsiteX1" fmla="*/ 299175 w 1795037"/>
              <a:gd name="connsiteY1" fmla="*/ 0 h 812799"/>
              <a:gd name="connsiteX2" fmla="*/ 1495862 w 1795037"/>
              <a:gd name="connsiteY2" fmla="*/ 0 h 812799"/>
              <a:gd name="connsiteX3" fmla="*/ 1795037 w 1795037"/>
              <a:gd name="connsiteY3" fmla="*/ 812799 h 812799"/>
              <a:gd name="connsiteX4" fmla="*/ 0 w 1795037"/>
              <a:gd name="connsiteY4" fmla="*/ 812799 h 81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5037" h="812799">
                <a:moveTo>
                  <a:pt x="0" y="812799"/>
                </a:moveTo>
                <a:lnTo>
                  <a:pt x="299175" y="0"/>
                </a:lnTo>
                <a:lnTo>
                  <a:pt x="1495862" y="0"/>
                </a:lnTo>
                <a:lnTo>
                  <a:pt x="1795037" y="812799"/>
                </a:lnTo>
                <a:lnTo>
                  <a:pt x="0" y="812799"/>
                </a:lnTo>
                <a:close/>
              </a:path>
            </a:pathLst>
          </a:custGeom>
          <a:solidFill>
            <a:srgbClr val="F3B457"/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470245" tIns="23481" rIns="470246" bIns="23481" numCol="1" spcCol="1270" anchor="ctr" anchorCtr="0">
            <a:noAutofit/>
          </a:bodyPr>
          <a:lstStyle/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000" dirty="0">
                <a:solidFill>
                  <a:schemeClr val="bg1"/>
                </a:solidFill>
                <a:latin typeface="+mn-ea"/>
                <a:ea typeface="+mn-ea"/>
                <a:cs typeface="+mn-cs"/>
              </a:rPr>
              <a:t>三线</a:t>
            </a:r>
          </a:p>
        </p:txBody>
      </p:sp>
      <p:sp>
        <p:nvSpPr>
          <p:cNvPr id="7" name="任意多边形 8"/>
          <p:cNvSpPr/>
          <p:nvPr/>
        </p:nvSpPr>
        <p:spPr>
          <a:xfrm>
            <a:off x="1392027" y="3244941"/>
            <a:ext cx="1992216" cy="608905"/>
          </a:xfrm>
          <a:custGeom>
            <a:avLst/>
            <a:gdLst>
              <a:gd name="connsiteX0" fmla="*/ 0 w 2393383"/>
              <a:gd name="connsiteY0" fmla="*/ 812799 h 812799"/>
              <a:gd name="connsiteX1" fmla="*/ 299175 w 2393383"/>
              <a:gd name="connsiteY1" fmla="*/ 0 h 812799"/>
              <a:gd name="connsiteX2" fmla="*/ 2094208 w 2393383"/>
              <a:gd name="connsiteY2" fmla="*/ 0 h 812799"/>
              <a:gd name="connsiteX3" fmla="*/ 2393383 w 2393383"/>
              <a:gd name="connsiteY3" fmla="*/ 812799 h 812799"/>
              <a:gd name="connsiteX4" fmla="*/ 0 w 2393383"/>
              <a:gd name="connsiteY4" fmla="*/ 812799 h 81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93383" h="812799">
                <a:moveTo>
                  <a:pt x="0" y="812799"/>
                </a:moveTo>
                <a:lnTo>
                  <a:pt x="299175" y="0"/>
                </a:lnTo>
                <a:lnTo>
                  <a:pt x="2094208" y="0"/>
                </a:lnTo>
                <a:lnTo>
                  <a:pt x="2393383" y="812799"/>
                </a:lnTo>
                <a:lnTo>
                  <a:pt x="0" y="81279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619167" tIns="23481" rIns="619167" bIns="23481" numCol="1" spcCol="1270" anchor="ctr" anchorCtr="0">
            <a:noAutofit/>
          </a:bodyPr>
          <a:lstStyle/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四线</a:t>
            </a:r>
          </a:p>
        </p:txBody>
      </p:sp>
      <p:sp>
        <p:nvSpPr>
          <p:cNvPr id="8" name="任意多边形 9"/>
          <p:cNvSpPr/>
          <p:nvPr/>
        </p:nvSpPr>
        <p:spPr>
          <a:xfrm>
            <a:off x="1143000" y="3853847"/>
            <a:ext cx="2490271" cy="608905"/>
          </a:xfrm>
          <a:custGeom>
            <a:avLst/>
            <a:gdLst>
              <a:gd name="connsiteX0" fmla="*/ 0 w 2991730"/>
              <a:gd name="connsiteY0" fmla="*/ 812799 h 812799"/>
              <a:gd name="connsiteX1" fmla="*/ 299175 w 2991730"/>
              <a:gd name="connsiteY1" fmla="*/ 0 h 812799"/>
              <a:gd name="connsiteX2" fmla="*/ 2692555 w 2991730"/>
              <a:gd name="connsiteY2" fmla="*/ 0 h 812799"/>
              <a:gd name="connsiteX3" fmla="*/ 2991730 w 2991730"/>
              <a:gd name="connsiteY3" fmla="*/ 812799 h 812799"/>
              <a:gd name="connsiteX4" fmla="*/ 0 w 2991730"/>
              <a:gd name="connsiteY4" fmla="*/ 812799 h 81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1730" h="812799">
                <a:moveTo>
                  <a:pt x="0" y="812799"/>
                </a:moveTo>
                <a:lnTo>
                  <a:pt x="299175" y="0"/>
                </a:lnTo>
                <a:lnTo>
                  <a:pt x="2692555" y="0"/>
                </a:lnTo>
                <a:lnTo>
                  <a:pt x="2991730" y="812799"/>
                </a:lnTo>
                <a:lnTo>
                  <a:pt x="0" y="81279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768088" tIns="23481" rIns="768091" bIns="23481" numCol="1" spcCol="1270" anchor="ctr" anchorCtr="0">
            <a:noAutofit/>
          </a:bodyPr>
          <a:lstStyle/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五线</a:t>
            </a:r>
          </a:p>
        </p:txBody>
      </p:sp>
      <p:grpSp>
        <p:nvGrpSpPr>
          <p:cNvPr id="40" name="组合 39"/>
          <p:cNvGrpSpPr/>
          <p:nvPr/>
        </p:nvGrpSpPr>
        <p:grpSpPr>
          <a:xfrm>
            <a:off x="990600" y="2026250"/>
            <a:ext cx="7086599" cy="1821449"/>
            <a:chOff x="1265949" y="2026250"/>
            <a:chExt cx="6592489" cy="1821449"/>
          </a:xfrm>
        </p:grpSpPr>
        <p:cxnSp>
          <p:nvCxnSpPr>
            <p:cNvPr id="9" name="直接连接符 12"/>
            <p:cNvCxnSpPr/>
            <p:nvPr/>
          </p:nvCxnSpPr>
          <p:spPr>
            <a:xfrm>
              <a:off x="1265949" y="2026250"/>
              <a:ext cx="6592489" cy="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ysDash"/>
            </a:ln>
            <a:effectLst/>
          </p:spPr>
        </p:cxnSp>
        <p:cxnSp>
          <p:nvCxnSpPr>
            <p:cNvPr id="10" name="直接连接符 13"/>
            <p:cNvCxnSpPr/>
            <p:nvPr/>
          </p:nvCxnSpPr>
          <p:spPr>
            <a:xfrm>
              <a:off x="1265949" y="2635742"/>
              <a:ext cx="6592489" cy="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ysDash"/>
            </a:ln>
            <a:effectLst/>
          </p:spPr>
        </p:cxnSp>
        <p:cxnSp>
          <p:nvCxnSpPr>
            <p:cNvPr id="11" name="直接连接符 14"/>
            <p:cNvCxnSpPr/>
            <p:nvPr/>
          </p:nvCxnSpPr>
          <p:spPr>
            <a:xfrm>
              <a:off x="1265949" y="3246990"/>
              <a:ext cx="6592489" cy="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ysDash"/>
            </a:ln>
            <a:effectLst/>
          </p:spPr>
        </p:cxnSp>
        <p:cxnSp>
          <p:nvCxnSpPr>
            <p:cNvPr id="12" name="直接连接符 15"/>
            <p:cNvCxnSpPr/>
            <p:nvPr/>
          </p:nvCxnSpPr>
          <p:spPr>
            <a:xfrm>
              <a:off x="1265949" y="3847699"/>
              <a:ext cx="6592489" cy="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ysDash"/>
            </a:ln>
            <a:effectLst/>
          </p:spPr>
        </p:cxnSp>
      </p:grpSp>
      <p:sp>
        <p:nvSpPr>
          <p:cNvPr id="13" name="右大括号 16"/>
          <p:cNvSpPr/>
          <p:nvPr/>
        </p:nvSpPr>
        <p:spPr>
          <a:xfrm>
            <a:off x="3752073" y="1530929"/>
            <a:ext cx="193884" cy="377570"/>
          </a:xfrm>
          <a:prstGeom prst="rightBrac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0">
              <a:solidFill>
                <a:srgbClr val="7F7F7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14" name="右大括号 17"/>
          <p:cNvSpPr/>
          <p:nvPr/>
        </p:nvSpPr>
        <p:spPr>
          <a:xfrm>
            <a:off x="3752073" y="2119342"/>
            <a:ext cx="193884" cy="377570"/>
          </a:xfrm>
          <a:prstGeom prst="rightBrac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0">
              <a:solidFill>
                <a:srgbClr val="7F7F7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15" name="右大括号 18"/>
          <p:cNvSpPr/>
          <p:nvPr/>
        </p:nvSpPr>
        <p:spPr>
          <a:xfrm>
            <a:off x="3752073" y="2730591"/>
            <a:ext cx="193884" cy="377570"/>
          </a:xfrm>
          <a:prstGeom prst="rightBrac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0">
              <a:solidFill>
                <a:srgbClr val="7F7F7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16" name="右大括号 19"/>
          <p:cNvSpPr/>
          <p:nvPr/>
        </p:nvSpPr>
        <p:spPr>
          <a:xfrm>
            <a:off x="3752073" y="3352378"/>
            <a:ext cx="193884" cy="377570"/>
          </a:xfrm>
          <a:prstGeom prst="rightBrac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0">
              <a:solidFill>
                <a:srgbClr val="7F7F7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17" name="右大括号 20"/>
          <p:cNvSpPr/>
          <p:nvPr/>
        </p:nvSpPr>
        <p:spPr>
          <a:xfrm>
            <a:off x="3752073" y="3963626"/>
            <a:ext cx="193884" cy="377570"/>
          </a:xfrm>
          <a:prstGeom prst="rightBrac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0">
              <a:solidFill>
                <a:srgbClr val="7F7F7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18" name="矩形 22"/>
          <p:cNvSpPr/>
          <p:nvPr/>
        </p:nvSpPr>
        <p:spPr>
          <a:xfrm>
            <a:off x="1159247" y="895350"/>
            <a:ext cx="309464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50" dirty="0">
                <a:solidFill>
                  <a:srgbClr val="19324C"/>
                </a:solidFill>
                <a:latin typeface="+mn-ea"/>
                <a:ea typeface="+mn-ea"/>
              </a:rPr>
              <a:t>城市级别划分依据：</a:t>
            </a:r>
            <a:endParaRPr lang="en-US" altLang="zh-CN" sz="1050" dirty="0">
              <a:solidFill>
                <a:srgbClr val="19324C"/>
              </a:solidFill>
              <a:latin typeface="+mn-ea"/>
              <a:ea typeface="+mn-ea"/>
            </a:endParaRPr>
          </a:p>
          <a:p>
            <a:pPr algn="l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50" b="0" i="1" u="sng" dirty="0">
                <a:solidFill>
                  <a:srgbClr val="19324C"/>
                </a:solidFill>
                <a:latin typeface="+mn-ea"/>
                <a:ea typeface="+mn-ea"/>
              </a:rPr>
              <a:t>根据医院的年西药收入</a:t>
            </a:r>
            <a:endParaRPr lang="en-US" altLang="zh-CN" sz="1050" b="0" i="1" u="sng" dirty="0">
              <a:solidFill>
                <a:srgbClr val="19324C"/>
              </a:solidFill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230461" y="1619274"/>
            <a:ext cx="1030458" cy="257288"/>
          </a:xfrm>
          <a:prstGeom prst="rect">
            <a:avLst/>
          </a:prstGeom>
          <a:solidFill>
            <a:srgbClr val="85540A"/>
          </a:solidFill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最高</a:t>
            </a:r>
            <a:r>
              <a:rPr lang="en-US" altLang="zh-CN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20%</a:t>
            </a:r>
            <a:endParaRPr lang="zh-CN" altLang="en-US" sz="1000" dirty="0">
              <a:solidFill>
                <a:srgbClr val="FFFFF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230461" y="2190925"/>
            <a:ext cx="1030458" cy="257288"/>
          </a:xfrm>
          <a:prstGeom prst="rect">
            <a:avLst/>
          </a:prstGeom>
          <a:solidFill>
            <a:srgbClr val="C87D0E"/>
          </a:solidFill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最高</a:t>
            </a:r>
            <a:r>
              <a:rPr lang="en-US" altLang="zh-CN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 20% -40%</a:t>
            </a:r>
            <a:endParaRPr lang="zh-CN" altLang="en-US" sz="1000" dirty="0">
              <a:solidFill>
                <a:srgbClr val="FFFFF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230461" y="2821495"/>
            <a:ext cx="1030458" cy="257288"/>
          </a:xfrm>
          <a:prstGeom prst="rect">
            <a:avLst/>
          </a:prstGeom>
          <a:solidFill>
            <a:srgbClr val="F3B457"/>
          </a:solidFill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最高</a:t>
            </a:r>
            <a:r>
              <a:rPr lang="en-US" altLang="zh-CN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40% -60%</a:t>
            </a:r>
            <a:endParaRPr lang="zh-CN" altLang="en-US" sz="1000" dirty="0">
              <a:solidFill>
                <a:srgbClr val="FFFFF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230461" y="3411666"/>
            <a:ext cx="1030458" cy="257288"/>
          </a:xfrm>
          <a:prstGeom prst="rect">
            <a:avLst/>
          </a:prstGeom>
          <a:solidFill>
            <a:srgbClr val="F9DAAB"/>
          </a:solidFill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最高</a:t>
            </a:r>
            <a:r>
              <a:rPr lang="en-US" altLang="zh-CN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60% -80%</a:t>
            </a:r>
            <a:endParaRPr lang="zh-CN" altLang="en-US" sz="1000" dirty="0">
              <a:solidFill>
                <a:schemeClr val="tx1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230461" y="4033452"/>
            <a:ext cx="1030458" cy="257288"/>
          </a:xfrm>
          <a:prstGeom prst="rect">
            <a:avLst/>
          </a:prstGeom>
          <a:solidFill>
            <a:srgbClr val="FCECD5"/>
          </a:solidFill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最低</a:t>
            </a:r>
            <a:r>
              <a:rPr lang="en-US" altLang="zh-CN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 20%</a:t>
            </a:r>
            <a:endParaRPr lang="zh-CN" altLang="en-US" sz="1000" dirty="0">
              <a:solidFill>
                <a:schemeClr val="tx1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666444" y="1249849"/>
            <a:ext cx="2060913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  <a:cs typeface="+mn-cs"/>
              </a:rPr>
              <a:t>西药收入集中度</a:t>
            </a:r>
            <a:r>
              <a:rPr lang="en-US" altLang="zh-CN" sz="10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  <a:cs typeface="+mn-cs"/>
              </a:rPr>
              <a:t>%</a:t>
            </a:r>
            <a:endParaRPr lang="zh-CN" altLang="en-US" sz="1000" b="0" kern="12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556580" y="1248788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b="0" kern="1200" dirty="0">
                <a:latin typeface="+mn-ea"/>
                <a:ea typeface="+mn-ea"/>
                <a:cs typeface="+mn-cs"/>
              </a:rPr>
              <a:t>城市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486400" y="1595485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1200" dirty="0">
                <a:latin typeface="+mn-ea"/>
                <a:ea typeface="+mn-ea"/>
                <a:cs typeface="+mn-cs"/>
              </a:rPr>
              <a:t>5</a:t>
            </a:r>
            <a:endParaRPr lang="zh-CN" altLang="en-US" sz="100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486400" y="2226054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1200" dirty="0">
                <a:latin typeface="+mn-ea"/>
                <a:ea typeface="+mn-ea"/>
                <a:cs typeface="+mn-cs"/>
              </a:rPr>
              <a:t>10</a:t>
            </a:r>
            <a:endParaRPr lang="zh-CN" altLang="en-US" sz="100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486400" y="2816224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1200" dirty="0">
                <a:latin typeface="+mn-ea"/>
                <a:ea typeface="+mn-ea"/>
                <a:cs typeface="+mn-cs"/>
              </a:rPr>
              <a:t>27</a:t>
            </a:r>
            <a:endParaRPr lang="zh-CN" altLang="en-US" sz="100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486400" y="3385316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1200" dirty="0">
                <a:latin typeface="+mn-ea"/>
                <a:ea typeface="+mn-ea"/>
                <a:cs typeface="+mn-cs"/>
              </a:rPr>
              <a:t>74</a:t>
            </a:r>
            <a:endParaRPr lang="zh-CN" altLang="en-US" sz="100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486400" y="4028183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1200" dirty="0">
                <a:latin typeface="+mn-ea"/>
                <a:ea typeface="+mn-ea"/>
                <a:cs typeface="+mn-cs"/>
              </a:rPr>
              <a:t>222</a:t>
            </a:r>
            <a:endParaRPr lang="zh-CN" altLang="en-US" sz="100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500190" y="1247327"/>
            <a:ext cx="809933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b="0" kern="1200" dirty="0">
                <a:latin typeface="+mn-ea"/>
                <a:ea typeface="+mn-ea"/>
                <a:cs typeface="+mn-cs"/>
              </a:rPr>
              <a:t>举例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141792" y="1595139"/>
            <a:ext cx="1622695" cy="241899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北京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上海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广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杭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天津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131324" y="2153959"/>
            <a:ext cx="1869675" cy="380399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成都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福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济南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南京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深圳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</a:p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沈阳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武汉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…</a:t>
            </a:r>
            <a:endParaRPr lang="zh-CN" altLang="en-US" sz="900" b="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131325" y="2763452"/>
            <a:ext cx="1869675" cy="380399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长春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长沙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常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大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东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佛山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昆明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苏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青岛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…..</a:t>
            </a:r>
            <a:endParaRPr lang="zh-CN" altLang="en-US" sz="900" b="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131325" y="3282617"/>
            <a:ext cx="1869675" cy="51889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保定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桂林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贵阳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吉林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兰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洛阳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泉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绍兴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银川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遵义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淄博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…</a:t>
            </a:r>
            <a:endParaRPr lang="zh-CN" altLang="en-US" sz="900" b="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131325" y="3871030"/>
            <a:ext cx="1869675" cy="51889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鞍山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本溪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大庆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黄冈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荆门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 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三亚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 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苏州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通辽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 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阳泉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枣庄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运城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….</a:t>
            </a:r>
            <a:endParaRPr lang="zh-CN" altLang="en-US" sz="900" b="0" kern="1200" dirty="0">
              <a:latin typeface="+mj-ea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8801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6EDDD48F-F40A-4490-8AE2-7D551F17D4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5968436"/>
              </p:ext>
            </p:extLst>
          </p:nvPr>
        </p:nvGraphicFramePr>
        <p:xfrm>
          <a:off x="1143844" y="844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47" name="think-cell 幻灯片" r:id="rId6" imgW="421" imgH="423" progId="TCLayout.ActiveDocument.1">
                  <p:embed/>
                </p:oleObj>
              </mc:Choice>
              <mc:Fallback>
                <p:oleObj name="think-cell 幻灯片" r:id="rId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3844" y="844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 bwMode="auto">
          <a:xfrm>
            <a:off x="1088077" y="-90510"/>
            <a:ext cx="228909" cy="300083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accent2"/>
              </a:buClr>
            </a:pPr>
            <a:endParaRPr lang="en-US" altLang="zh-CN" sz="700" b="1" dirty="0"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0981E5EC-501B-4973-96AA-40EF6FE3C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114309"/>
            <a:ext cx="6743700" cy="594121"/>
          </a:xfrm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Market volume size</a:t>
            </a:r>
            <a:endParaRPr lang="zh-CN" altLang="en-US" sz="1800" dirty="0">
              <a:sym typeface="Helvetica Neue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6CB4B4D-7CA3-9044-876B-883B54F8677D}" type="slidenum">
              <a:rPr lang="en-US" altLang="zh-CN" smtClean="0"/>
              <a:t>3</a:t>
            </a:fld>
            <a:endParaRPr lang="en-US" altLang="zh-CN" dirty="0"/>
          </a:p>
        </p:txBody>
      </p:sp>
      <p:sp>
        <p:nvSpPr>
          <p:cNvPr id="198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1017588" y="895350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et volume size by MAT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5513388" y="899528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et volume size by YTD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8" name="直接连接符 107">
            <a:extLst>
              <a:ext uri="{FF2B5EF4-FFF2-40B4-BE49-F238E27FC236}">
                <a16:creationId xmlns:a16="http://schemas.microsoft.com/office/drawing/2014/main" id="{830CBA6F-E043-4993-A195-5F2D668B226E}"/>
              </a:ext>
            </a:extLst>
          </p:cNvPr>
          <p:cNvCxnSpPr/>
          <p:nvPr/>
        </p:nvCxnSpPr>
        <p:spPr>
          <a:xfrm>
            <a:off x="4563708" y="971550"/>
            <a:ext cx="0" cy="37829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2" name="图表 111"/>
          <p:cNvGraphicFramePr/>
          <p:nvPr>
            <p:extLst>
              <p:ext uri="{D42A27DB-BD31-4B8C-83A1-F6EECF244321}">
                <p14:modId xmlns:p14="http://schemas.microsoft.com/office/powerpoint/2010/main" val="3218968040"/>
              </p:ext>
            </p:extLst>
          </p:nvPr>
        </p:nvGraphicFramePr>
        <p:xfrm>
          <a:off x="76200" y="1323058"/>
          <a:ext cx="4239984" cy="325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3" name="图表 112"/>
          <p:cNvGraphicFramePr/>
          <p:nvPr>
            <p:extLst>
              <p:ext uri="{D42A27DB-BD31-4B8C-83A1-F6EECF244321}">
                <p14:modId xmlns:p14="http://schemas.microsoft.com/office/powerpoint/2010/main" val="148235662"/>
              </p:ext>
            </p:extLst>
          </p:nvPr>
        </p:nvGraphicFramePr>
        <p:xfrm>
          <a:off x="4565546" y="1323058"/>
          <a:ext cx="4239984" cy="325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1" name="椭圆 10">
            <a:extLst>
              <a:ext uri="{FF2B5EF4-FFF2-40B4-BE49-F238E27FC236}">
                <a16:creationId xmlns:a16="http://schemas.microsoft.com/office/drawing/2014/main" id="{FBD66400-7E6E-4724-AE9E-3F4683410B3A}"/>
              </a:ext>
            </a:extLst>
          </p:cNvPr>
          <p:cNvSpPr/>
          <p:nvPr/>
        </p:nvSpPr>
        <p:spPr>
          <a:xfrm>
            <a:off x="319003" y="1354865"/>
            <a:ext cx="2514597" cy="990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当不足一个</a:t>
            </a:r>
            <a:r>
              <a:rPr lang="en-US" altLang="zh-CN" dirty="0"/>
              <a:t>MAT</a:t>
            </a:r>
            <a:r>
              <a:rPr lang="zh-CN" altLang="en-US" dirty="0"/>
              <a:t>时，不需要出计算结果</a:t>
            </a:r>
          </a:p>
        </p:txBody>
      </p:sp>
    </p:spTree>
    <p:extLst>
      <p:ext uri="{BB962C8B-B14F-4D97-AF65-F5344CB8AC3E}">
        <p14:creationId xmlns:p14="http://schemas.microsoft.com/office/powerpoint/2010/main" val="32965533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379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29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7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rket size by city tier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0</a:t>
            </a:fld>
            <a:endParaRPr lang="en-US" dirty="0">
              <a:ea typeface="+mn-ea"/>
            </a:endParaRPr>
          </a:p>
        </p:txBody>
      </p:sp>
      <p:graphicFrame>
        <p:nvGraphicFramePr>
          <p:cNvPr id="8" name="图表 7">
            <a:extLst>
              <a:ext uri="{FF2B5EF4-FFF2-40B4-BE49-F238E27FC236}">
                <a16:creationId xmlns:a16="http://schemas.microsoft.com/office/drawing/2014/main" id="{83604A47-1650-4A37-A73C-A52D6B75CC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3334386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" name="对象 8">
            <a:extLst>
              <a:ext uri="{FF2B5EF4-FFF2-40B4-BE49-F238E27FC236}">
                <a16:creationId xmlns:a16="http://schemas.microsoft.com/office/drawing/2014/main" id="{53EA8D96-D337-491D-B4CB-39D1BF40734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6543127"/>
              </p:ext>
            </p:extLst>
          </p:nvPr>
        </p:nvGraphicFramePr>
        <p:xfrm>
          <a:off x="4387850" y="1352550"/>
          <a:ext cx="3689350" cy="2513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30" name="Worksheet" r:id="rId8" imgW="3933662" imgH="2676602" progId="Excel.Sheet.12">
                  <p:embed/>
                </p:oleObj>
              </mc:Choice>
              <mc:Fallback>
                <p:oleObj name="Worksheet" r:id="rId8" imgW="3933662" imgH="2676602" progId="Excel.Sheet.12">
                  <p:embed/>
                  <p:pic>
                    <p:nvPicPr>
                      <p:cNvPr id="39" name="对象 38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387850" y="1352550"/>
                        <a:ext cx="3689350" cy="25130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椭圆 9">
            <a:extLst>
              <a:ext uri="{FF2B5EF4-FFF2-40B4-BE49-F238E27FC236}">
                <a16:creationId xmlns:a16="http://schemas.microsoft.com/office/drawing/2014/main" id="{92C749ED-AB79-47B1-A11E-24C7F5DB9B8C}"/>
              </a:ext>
            </a:extLst>
          </p:cNvPr>
          <p:cNvSpPr/>
          <p:nvPr/>
        </p:nvSpPr>
        <p:spPr>
          <a:xfrm>
            <a:off x="1093788" y="708430"/>
            <a:ext cx="3124199" cy="23205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和第</a:t>
            </a:r>
            <a:r>
              <a:rPr lang="en-US" altLang="zh-CN" dirty="0"/>
              <a:t>2</a:t>
            </a:r>
            <a:r>
              <a:rPr lang="zh-CN" altLang="en-US" dirty="0"/>
              <a:t>页一样，需要输出</a:t>
            </a:r>
            <a:r>
              <a:rPr lang="en-US" altLang="zh-CN" dirty="0"/>
              <a:t>5</a:t>
            </a:r>
            <a:r>
              <a:rPr lang="zh-CN" altLang="en-US" dirty="0"/>
              <a:t>年，从当前时间往前推</a:t>
            </a:r>
            <a:r>
              <a:rPr lang="en-US" altLang="zh-CN" dirty="0"/>
              <a:t>5</a:t>
            </a:r>
            <a:r>
              <a:rPr lang="zh-CN" altLang="en-US" dirty="0"/>
              <a:t>年的时间，没有数据输出空值即可</a:t>
            </a:r>
            <a:endParaRPr lang="en-US" altLang="zh-CN" dirty="0"/>
          </a:p>
          <a:p>
            <a:pPr algn="ctr"/>
            <a:r>
              <a:rPr lang="zh-CN" altLang="en-US" dirty="0"/>
              <a:t>左右两个图同样情况</a:t>
            </a:r>
          </a:p>
        </p:txBody>
      </p:sp>
    </p:spTree>
    <p:extLst>
      <p:ext uri="{BB962C8B-B14F-4D97-AF65-F5344CB8AC3E}">
        <p14:creationId xmlns:p14="http://schemas.microsoft.com/office/powerpoint/2010/main" val="15216660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379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52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7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rket size by city tier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1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B9BE578E-3534-4CB1-8D7B-29CAD5219C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3872506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对象 10">
            <a:extLst>
              <a:ext uri="{FF2B5EF4-FFF2-40B4-BE49-F238E27FC236}">
                <a16:creationId xmlns:a16="http://schemas.microsoft.com/office/drawing/2014/main" id="{5984E512-6155-47D9-8FA0-78723F1FBA2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47881360"/>
              </p:ext>
            </p:extLst>
          </p:nvPr>
        </p:nvGraphicFramePr>
        <p:xfrm>
          <a:off x="4387850" y="1352550"/>
          <a:ext cx="3689350" cy="2513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53" name="Worksheet" r:id="rId8" imgW="3933662" imgH="2676602" progId="Excel.Sheet.12">
                  <p:embed/>
                </p:oleObj>
              </mc:Choice>
              <mc:Fallback>
                <p:oleObj name="Worksheet" r:id="rId8" imgW="3933662" imgH="2676602" progId="Excel.Sheet.12">
                  <p:embed/>
                  <p:pic>
                    <p:nvPicPr>
                      <p:cNvPr id="8" name="对象 7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387850" y="1352550"/>
                        <a:ext cx="3689350" cy="25130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椭圆 7">
            <a:extLst>
              <a:ext uri="{FF2B5EF4-FFF2-40B4-BE49-F238E27FC236}">
                <a16:creationId xmlns:a16="http://schemas.microsoft.com/office/drawing/2014/main" id="{757F1558-CE8B-4C04-ABDA-4CB014B1346D}"/>
              </a:ext>
            </a:extLst>
          </p:cNvPr>
          <p:cNvSpPr/>
          <p:nvPr/>
        </p:nvSpPr>
        <p:spPr>
          <a:xfrm>
            <a:off x="1093788" y="708430"/>
            <a:ext cx="3124199" cy="23205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和第</a:t>
            </a:r>
            <a:r>
              <a:rPr lang="en-US" altLang="zh-CN" dirty="0"/>
              <a:t>2</a:t>
            </a:r>
            <a:r>
              <a:rPr lang="zh-CN" altLang="en-US" dirty="0"/>
              <a:t>页一样，需要输出</a:t>
            </a:r>
            <a:r>
              <a:rPr lang="en-US" altLang="zh-CN" dirty="0"/>
              <a:t>5</a:t>
            </a:r>
            <a:r>
              <a:rPr lang="zh-CN" altLang="en-US" dirty="0"/>
              <a:t>年，从当前时间往前推</a:t>
            </a:r>
            <a:r>
              <a:rPr lang="en-US" altLang="zh-CN" dirty="0"/>
              <a:t>5</a:t>
            </a:r>
            <a:r>
              <a:rPr lang="zh-CN" altLang="en-US" dirty="0"/>
              <a:t>年的时间，没有数据输出空值即可</a:t>
            </a:r>
            <a:endParaRPr lang="en-US" altLang="zh-CN" dirty="0"/>
          </a:p>
          <a:p>
            <a:pPr algn="ctr"/>
            <a:r>
              <a:rPr lang="zh-CN" altLang="en-US" dirty="0"/>
              <a:t>左右两个图同样情况</a:t>
            </a:r>
          </a:p>
        </p:txBody>
      </p:sp>
    </p:spTree>
    <p:extLst>
      <p:ext uri="{BB962C8B-B14F-4D97-AF65-F5344CB8AC3E}">
        <p14:creationId xmlns:p14="http://schemas.microsoft.com/office/powerpoint/2010/main" val="16559053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74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Tier performance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2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29715202"/>
              </p:ext>
            </p:extLst>
          </p:nvPr>
        </p:nvGraphicFramePr>
        <p:xfrm>
          <a:off x="304800" y="1352550"/>
          <a:ext cx="8432800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75" name="Worksheet" r:id="rId7" imgW="8991589" imgH="1990749" progId="Excel.Sheet.12">
                  <p:embed/>
                </p:oleObj>
              </mc:Choice>
              <mc:Fallback>
                <p:oleObj name="Worksheet" r:id="rId7" imgW="8991589" imgH="199074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4800" y="1352550"/>
                        <a:ext cx="8432800" cy="186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06824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96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Tier performance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3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08217502"/>
              </p:ext>
            </p:extLst>
          </p:nvPr>
        </p:nvGraphicFramePr>
        <p:xfrm>
          <a:off x="304800" y="1352550"/>
          <a:ext cx="8432800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97" name="Worksheet" r:id="rId7" imgW="8991589" imgH="1990749" progId="Excel.Sheet.12">
                  <p:embed/>
                </p:oleObj>
              </mc:Choice>
              <mc:Fallback>
                <p:oleObj name="Worksheet" r:id="rId7" imgW="8991589" imgH="199074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4800" y="1352550"/>
                        <a:ext cx="8432800" cy="186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540251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475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805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/>
            <a:endParaRPr lang="zh-CN" altLang="en-US" sz="700" dirty="0"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48829"/>
            <a:ext cx="82677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tier _ MAT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4</a:t>
            </a:fld>
            <a:endParaRPr lang="en-US" dirty="0">
              <a:ea typeface="+mn-ea"/>
            </a:endParaRPr>
          </a:p>
        </p:txBody>
      </p:sp>
      <p:graphicFrame>
        <p:nvGraphicFramePr>
          <p:cNvPr id="81" name="图表 80"/>
          <p:cNvGraphicFramePr/>
          <p:nvPr>
            <p:extLst>
              <p:ext uri="{D42A27DB-BD31-4B8C-83A1-F6EECF244321}">
                <p14:modId xmlns:p14="http://schemas.microsoft.com/office/powerpoint/2010/main" val="2742059640"/>
              </p:ext>
            </p:extLst>
          </p:nvPr>
        </p:nvGraphicFramePr>
        <p:xfrm>
          <a:off x="1790700" y="1047750"/>
          <a:ext cx="57150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椭圆 7">
            <a:extLst>
              <a:ext uri="{FF2B5EF4-FFF2-40B4-BE49-F238E27FC236}">
                <a16:creationId xmlns:a16="http://schemas.microsoft.com/office/drawing/2014/main" id="{4716CC53-C9AD-48C8-8302-CAFC0BE0CAB3}"/>
              </a:ext>
            </a:extLst>
          </p:cNvPr>
          <p:cNvSpPr/>
          <p:nvPr/>
        </p:nvSpPr>
        <p:spPr>
          <a:xfrm>
            <a:off x="2895600" y="2114550"/>
            <a:ext cx="3352800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输出的表需要转置一下横纵坐标</a:t>
            </a:r>
            <a:endParaRPr lang="en-US" altLang="zh-CN" dirty="0"/>
          </a:p>
          <a:p>
            <a:r>
              <a:rPr lang="zh-CN" altLang="en-US" dirty="0"/>
              <a:t>产品信息不需要带出</a:t>
            </a:r>
            <a:r>
              <a:rPr lang="en-US" altLang="zh-CN" dirty="0"/>
              <a:t>share internal product</a:t>
            </a:r>
            <a:r>
              <a:rPr lang="zh-CN" altLang="en-US" dirty="0"/>
              <a:t>：等信息</a:t>
            </a:r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14932776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475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76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/>
            <a:endParaRPr lang="zh-CN" altLang="en-US" sz="700" dirty="0"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3439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tier _ MAT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5</a:t>
            </a:fld>
            <a:endParaRPr lang="en-US" dirty="0">
              <a:ea typeface="+mn-ea"/>
            </a:endParaRPr>
          </a:p>
        </p:txBody>
      </p:sp>
      <p:graphicFrame>
        <p:nvGraphicFramePr>
          <p:cNvPr id="81" name="图表 80"/>
          <p:cNvGraphicFramePr/>
          <p:nvPr>
            <p:extLst>
              <p:ext uri="{D42A27DB-BD31-4B8C-83A1-F6EECF244321}">
                <p14:modId xmlns:p14="http://schemas.microsoft.com/office/powerpoint/2010/main" val="1516058455"/>
              </p:ext>
            </p:extLst>
          </p:nvPr>
        </p:nvGraphicFramePr>
        <p:xfrm>
          <a:off x="1790700" y="1047750"/>
          <a:ext cx="57150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椭圆 6">
            <a:extLst>
              <a:ext uri="{FF2B5EF4-FFF2-40B4-BE49-F238E27FC236}">
                <a16:creationId xmlns:a16="http://schemas.microsoft.com/office/drawing/2014/main" id="{0B6FDF47-9E58-401A-9852-9A5BC13BE4DC}"/>
              </a:ext>
            </a:extLst>
          </p:cNvPr>
          <p:cNvSpPr/>
          <p:nvPr/>
        </p:nvSpPr>
        <p:spPr>
          <a:xfrm>
            <a:off x="2895600" y="2114550"/>
            <a:ext cx="3352800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输出的表需要转置一下横纵坐标</a:t>
            </a:r>
            <a:endParaRPr lang="en-US" altLang="zh-CN" dirty="0"/>
          </a:p>
          <a:p>
            <a:r>
              <a:rPr lang="zh-CN" altLang="en-US" dirty="0"/>
              <a:t>产品信息不需要带出</a:t>
            </a:r>
            <a:r>
              <a:rPr lang="en-US" altLang="zh-CN" dirty="0"/>
              <a:t>share internal product</a:t>
            </a:r>
            <a:r>
              <a:rPr lang="zh-CN" altLang="en-US" dirty="0"/>
              <a:t>：等信息</a:t>
            </a:r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20084355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68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performance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6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26324991"/>
              </p:ext>
            </p:extLst>
          </p:nvPr>
        </p:nvGraphicFramePr>
        <p:xfrm>
          <a:off x="387066" y="952500"/>
          <a:ext cx="8432800" cy="1152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69" name="Worksheet" r:id="rId7" imgW="8991589" imgH="1228784" progId="Excel.Sheet.12">
                  <p:embed/>
                </p:oleObj>
              </mc:Choice>
              <mc:Fallback>
                <p:oleObj name="Worksheet" r:id="rId7" imgW="8991589" imgH="122878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87066" y="952500"/>
                        <a:ext cx="8432800" cy="1152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56390761"/>
              </p:ext>
            </p:extLst>
          </p:nvPr>
        </p:nvGraphicFramePr>
        <p:xfrm>
          <a:off x="399742" y="2419350"/>
          <a:ext cx="8432800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70" name="Worksheet" r:id="rId9" imgW="8991589" imgH="1990749" progId="Excel.Sheet.12">
                  <p:embed/>
                </p:oleObj>
              </mc:Choice>
              <mc:Fallback>
                <p:oleObj name="Worksheet" r:id="rId9" imgW="8991589" imgH="199074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99742" y="2419350"/>
                        <a:ext cx="8432800" cy="186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004613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64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performance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7</a:t>
            </a:fld>
            <a:endParaRPr lang="en-US" dirty="0">
              <a:ea typeface="+mn-ea"/>
            </a:endParaRPr>
          </a:p>
        </p:txBody>
      </p:sp>
      <p:graphicFrame>
        <p:nvGraphicFramePr>
          <p:cNvPr id="8" name="对象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12728006"/>
              </p:ext>
            </p:extLst>
          </p:nvPr>
        </p:nvGraphicFramePr>
        <p:xfrm>
          <a:off x="376238" y="852488"/>
          <a:ext cx="8432800" cy="3795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65" name="Worksheet" r:id="rId7" imgW="8991589" imgH="4048308" progId="Excel.Sheet.12">
                  <p:embed/>
                </p:oleObj>
              </mc:Choice>
              <mc:Fallback>
                <p:oleObj name="Worksheet" r:id="rId7" imgW="8991589" imgH="404830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76238" y="852488"/>
                        <a:ext cx="8432800" cy="3795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754127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11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performance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8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8277671"/>
              </p:ext>
            </p:extLst>
          </p:nvPr>
        </p:nvGraphicFramePr>
        <p:xfrm>
          <a:off x="387066" y="952500"/>
          <a:ext cx="8432800" cy="1152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12" name="Worksheet" r:id="rId7" imgW="8991589" imgH="1228784" progId="Excel.Sheet.12">
                  <p:embed/>
                </p:oleObj>
              </mc:Choice>
              <mc:Fallback>
                <p:oleObj name="Worksheet" r:id="rId7" imgW="8991589" imgH="122878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87066" y="952500"/>
                        <a:ext cx="8432800" cy="1152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2023813"/>
              </p:ext>
            </p:extLst>
          </p:nvPr>
        </p:nvGraphicFramePr>
        <p:xfrm>
          <a:off x="399742" y="2419350"/>
          <a:ext cx="8432800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13" name="Worksheet" r:id="rId9" imgW="8991589" imgH="1990749" progId="Excel.Sheet.12">
                  <p:embed/>
                </p:oleObj>
              </mc:Choice>
              <mc:Fallback>
                <p:oleObj name="Worksheet" r:id="rId9" imgW="8991589" imgH="199074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99742" y="2419350"/>
                        <a:ext cx="8432800" cy="186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29334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12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performance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9</a:t>
            </a:fld>
            <a:endParaRPr lang="en-US" dirty="0">
              <a:ea typeface="+mn-ea"/>
            </a:endParaRPr>
          </a:p>
        </p:txBody>
      </p:sp>
      <p:graphicFrame>
        <p:nvGraphicFramePr>
          <p:cNvPr id="8" name="对象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00897096"/>
              </p:ext>
            </p:extLst>
          </p:nvPr>
        </p:nvGraphicFramePr>
        <p:xfrm>
          <a:off x="376238" y="852488"/>
          <a:ext cx="8432800" cy="3795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13" name="Worksheet" r:id="rId7" imgW="8991589" imgH="4048308" progId="Excel.Sheet.12">
                  <p:embed/>
                </p:oleObj>
              </mc:Choice>
              <mc:Fallback>
                <p:oleObj name="Worksheet" r:id="rId7" imgW="8991589" imgH="404830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76238" y="852488"/>
                        <a:ext cx="8432800" cy="3795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595329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877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005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Sub-Market Value Share &amp; Growth _ MAT</a:t>
            </a:r>
            <a:endParaRPr lang="zh-CN" altLang="en-US" sz="18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4</a:t>
            </a:fld>
            <a:endParaRPr lang="en-US" dirty="0">
              <a:ea typeface="+mn-ea"/>
            </a:endParaRPr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2682811"/>
              </p:ext>
            </p:extLst>
          </p:nvPr>
        </p:nvGraphicFramePr>
        <p:xfrm>
          <a:off x="4191000" y="1407642"/>
          <a:ext cx="3859212" cy="21127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006" name="Worksheet" r:id="rId8" imgW="4114709" imgH="1533493" progId="Excel.Sheet.12">
                  <p:embed/>
                </p:oleObj>
              </mc:Choice>
              <mc:Fallback>
                <p:oleObj name="Worksheet" r:id="rId8" imgW="4114709" imgH="153349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191000" y="1407642"/>
                        <a:ext cx="3859212" cy="21127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3F25DE1B-2F56-4404-8EB4-F4801A0EF7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9057927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椭圆 7">
            <a:extLst>
              <a:ext uri="{FF2B5EF4-FFF2-40B4-BE49-F238E27FC236}">
                <a16:creationId xmlns:a16="http://schemas.microsoft.com/office/drawing/2014/main" id="{C257FA6B-83D5-4D2F-9A86-B6ECB2E06B46}"/>
              </a:ext>
            </a:extLst>
          </p:cNvPr>
          <p:cNvSpPr/>
          <p:nvPr/>
        </p:nvSpPr>
        <p:spPr>
          <a:xfrm>
            <a:off x="6120606" y="590550"/>
            <a:ext cx="3124199" cy="23205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和第</a:t>
            </a:r>
            <a:r>
              <a:rPr lang="en-US" altLang="zh-CN" dirty="0"/>
              <a:t>2</a:t>
            </a:r>
            <a:r>
              <a:rPr lang="zh-CN" altLang="en-US" dirty="0"/>
              <a:t>页一样，需要输出</a:t>
            </a:r>
            <a:r>
              <a:rPr lang="en-US" altLang="zh-CN" dirty="0"/>
              <a:t>5</a:t>
            </a:r>
            <a:r>
              <a:rPr lang="zh-CN" altLang="en-US" dirty="0"/>
              <a:t>年，从当前时间往前推</a:t>
            </a:r>
            <a:r>
              <a:rPr lang="en-US" altLang="zh-CN" dirty="0"/>
              <a:t>5</a:t>
            </a:r>
            <a:r>
              <a:rPr lang="zh-CN" altLang="en-US" dirty="0"/>
              <a:t>年的时间，没有数据输出空值即可</a:t>
            </a:r>
            <a:endParaRPr lang="en-US" altLang="zh-CN" dirty="0"/>
          </a:p>
          <a:p>
            <a:pPr algn="ctr"/>
            <a:r>
              <a:rPr lang="zh-CN" altLang="en-US" dirty="0"/>
              <a:t>左右两个图同样情况</a:t>
            </a:r>
          </a:p>
        </p:txBody>
      </p:sp>
    </p:spTree>
    <p:extLst>
      <p:ext uri="{BB962C8B-B14F-4D97-AF65-F5344CB8AC3E}">
        <p14:creationId xmlns:p14="http://schemas.microsoft.com/office/powerpoint/2010/main" val="39914605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city _ MAT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40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1597062812"/>
              </p:ext>
            </p:extLst>
          </p:nvPr>
        </p:nvGraphicFramePr>
        <p:xfrm>
          <a:off x="152400" y="11239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1219200" y="872787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1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4953000" y="872787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2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F4D2D8EE-72E3-4B71-AF56-F7A040D9263B}"/>
              </a:ext>
            </a:extLst>
          </p:cNvPr>
          <p:cNvSpPr/>
          <p:nvPr/>
        </p:nvSpPr>
        <p:spPr>
          <a:xfrm>
            <a:off x="2895600" y="2114550"/>
            <a:ext cx="3352800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输出的表需要转置一下横纵坐标</a:t>
            </a:r>
            <a:endParaRPr lang="en-US" altLang="zh-CN" dirty="0"/>
          </a:p>
          <a:p>
            <a:r>
              <a:rPr lang="zh-CN" altLang="en-US" dirty="0"/>
              <a:t>产品信息不需要带出</a:t>
            </a:r>
            <a:r>
              <a:rPr lang="en-US" altLang="zh-CN" dirty="0"/>
              <a:t>share internal product</a:t>
            </a:r>
            <a:r>
              <a:rPr lang="zh-CN" altLang="en-US" dirty="0"/>
              <a:t>：等信息</a:t>
            </a:r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418159294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22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city _ MAT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41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1731229022"/>
              </p:ext>
            </p:extLst>
          </p:nvPr>
        </p:nvGraphicFramePr>
        <p:xfrm>
          <a:off x="152400" y="11239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1219200" y="872787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1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4953000" y="872787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2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95065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46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city _ MAT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42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459940469"/>
              </p:ext>
            </p:extLst>
          </p:nvPr>
        </p:nvGraphicFramePr>
        <p:xfrm>
          <a:off x="152400" y="1081491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3581400" y="845076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3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70542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7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city _ MAT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43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459940469"/>
              </p:ext>
            </p:extLst>
          </p:nvPr>
        </p:nvGraphicFramePr>
        <p:xfrm>
          <a:off x="152400" y="1081491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3581400" y="845076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3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91898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090076"/>
              </p:ext>
            </p:extLst>
          </p:nvPr>
        </p:nvGraphicFramePr>
        <p:xfrm>
          <a:off x="1144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636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241143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877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28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Sub-Market Volume Share &amp; Growth _ MAT</a:t>
            </a:r>
            <a:endParaRPr lang="zh-CN" altLang="en-US" sz="18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5</a:t>
            </a:fld>
            <a:endParaRPr lang="en-US" dirty="0">
              <a:ea typeface="+mn-ea"/>
            </a:endParaRPr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20223980"/>
              </p:ext>
            </p:extLst>
          </p:nvPr>
        </p:nvGraphicFramePr>
        <p:xfrm>
          <a:off x="4217987" y="1352550"/>
          <a:ext cx="3859213" cy="2513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29" name="Worksheet" r:id="rId8" imgW="4114724" imgH="2676602" progId="Excel.Sheet.12">
                  <p:embed/>
                </p:oleObj>
              </mc:Choice>
              <mc:Fallback>
                <p:oleObj name="Worksheet" r:id="rId8" imgW="4114724" imgH="267660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217987" y="1352550"/>
                        <a:ext cx="3859213" cy="2513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3F25DE1B-2F56-4404-8EB4-F4801A0EF7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0901700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椭圆 7">
            <a:extLst>
              <a:ext uri="{FF2B5EF4-FFF2-40B4-BE49-F238E27FC236}">
                <a16:creationId xmlns:a16="http://schemas.microsoft.com/office/drawing/2014/main" id="{43B15253-2757-4656-B676-C120BD30BA6E}"/>
              </a:ext>
            </a:extLst>
          </p:cNvPr>
          <p:cNvSpPr/>
          <p:nvPr/>
        </p:nvSpPr>
        <p:spPr>
          <a:xfrm>
            <a:off x="1093788" y="708430"/>
            <a:ext cx="3124199" cy="23205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和第</a:t>
            </a:r>
            <a:r>
              <a:rPr lang="en-US" altLang="zh-CN" dirty="0"/>
              <a:t>2</a:t>
            </a:r>
            <a:r>
              <a:rPr lang="zh-CN" altLang="en-US" dirty="0"/>
              <a:t>页一样，需要输出</a:t>
            </a:r>
            <a:r>
              <a:rPr lang="en-US" altLang="zh-CN" dirty="0"/>
              <a:t>5</a:t>
            </a:r>
            <a:r>
              <a:rPr lang="zh-CN" altLang="en-US" dirty="0"/>
              <a:t>年，从当前时间往前推</a:t>
            </a:r>
            <a:r>
              <a:rPr lang="en-US" altLang="zh-CN" dirty="0"/>
              <a:t>5</a:t>
            </a:r>
            <a:r>
              <a:rPr lang="zh-CN" altLang="en-US" dirty="0"/>
              <a:t>年的时间，没有数据输出空值即可</a:t>
            </a:r>
            <a:endParaRPr lang="en-US" altLang="zh-CN" dirty="0"/>
          </a:p>
          <a:p>
            <a:pPr algn="ctr"/>
            <a:r>
              <a:rPr lang="zh-CN" altLang="en-US" dirty="0"/>
              <a:t>左右两个图同样情况</a:t>
            </a:r>
          </a:p>
        </p:txBody>
      </p:sp>
    </p:spTree>
    <p:extLst>
      <p:ext uri="{BB962C8B-B14F-4D97-AF65-F5344CB8AC3E}">
        <p14:creationId xmlns:p14="http://schemas.microsoft.com/office/powerpoint/2010/main" val="28715787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52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Sub-Market Value Share &amp; Growth _ YTD</a:t>
            </a:r>
            <a:endParaRPr lang="zh-CN" altLang="en-US" sz="18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6</a:t>
            </a:fld>
            <a:endParaRPr lang="en-US" dirty="0">
              <a:ea typeface="+mn-ea"/>
            </a:endParaRPr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22102440"/>
              </p:ext>
            </p:extLst>
          </p:nvPr>
        </p:nvGraphicFramePr>
        <p:xfrm>
          <a:off x="4217987" y="1352550"/>
          <a:ext cx="3859213" cy="2513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53" name="Worksheet" r:id="rId8" imgW="4114724" imgH="2676602" progId="Excel.Sheet.12">
                  <p:embed/>
                </p:oleObj>
              </mc:Choice>
              <mc:Fallback>
                <p:oleObj name="Worksheet" r:id="rId8" imgW="4114724" imgH="267660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217987" y="1352550"/>
                        <a:ext cx="3859213" cy="2513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3F25DE1B-2F56-4404-8EB4-F4801A0EF7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476705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椭圆 7">
            <a:extLst>
              <a:ext uri="{FF2B5EF4-FFF2-40B4-BE49-F238E27FC236}">
                <a16:creationId xmlns:a16="http://schemas.microsoft.com/office/drawing/2014/main" id="{9189D5D5-B321-4BF2-8483-967FAF8DEA75}"/>
              </a:ext>
            </a:extLst>
          </p:cNvPr>
          <p:cNvSpPr/>
          <p:nvPr/>
        </p:nvSpPr>
        <p:spPr>
          <a:xfrm>
            <a:off x="1093788" y="708430"/>
            <a:ext cx="3124199" cy="23205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和第</a:t>
            </a:r>
            <a:r>
              <a:rPr lang="en-US" altLang="zh-CN" dirty="0"/>
              <a:t>2</a:t>
            </a:r>
            <a:r>
              <a:rPr lang="zh-CN" altLang="en-US" dirty="0"/>
              <a:t>页一样，需要输出</a:t>
            </a:r>
            <a:r>
              <a:rPr lang="en-US" altLang="zh-CN" dirty="0"/>
              <a:t>5</a:t>
            </a:r>
            <a:r>
              <a:rPr lang="zh-CN" altLang="en-US" dirty="0"/>
              <a:t>年，从当前时间往前推</a:t>
            </a:r>
            <a:r>
              <a:rPr lang="en-US" altLang="zh-CN" dirty="0"/>
              <a:t>5</a:t>
            </a:r>
            <a:r>
              <a:rPr lang="zh-CN" altLang="en-US" dirty="0"/>
              <a:t>年的时间，没有数据输出空值即可</a:t>
            </a:r>
            <a:endParaRPr lang="en-US" altLang="zh-CN" dirty="0"/>
          </a:p>
          <a:p>
            <a:pPr algn="ctr"/>
            <a:r>
              <a:rPr lang="zh-CN" altLang="en-US" dirty="0"/>
              <a:t>左右两个图同样情况</a:t>
            </a:r>
          </a:p>
        </p:txBody>
      </p:sp>
    </p:spTree>
    <p:extLst>
      <p:ext uri="{BB962C8B-B14F-4D97-AF65-F5344CB8AC3E}">
        <p14:creationId xmlns:p14="http://schemas.microsoft.com/office/powerpoint/2010/main" val="2427842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78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Sub-Market Volume Share &amp; Growth _ YTD</a:t>
            </a:r>
            <a:endParaRPr lang="zh-CN" altLang="en-US" sz="18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7</a:t>
            </a:fld>
            <a:endParaRPr lang="en-US" dirty="0">
              <a:ea typeface="+mn-ea"/>
            </a:endParaRPr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39954043"/>
              </p:ext>
            </p:extLst>
          </p:nvPr>
        </p:nvGraphicFramePr>
        <p:xfrm>
          <a:off x="4217987" y="1352550"/>
          <a:ext cx="3859213" cy="2513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79" name="Worksheet" r:id="rId8" imgW="4114724" imgH="2676602" progId="Excel.Sheet.12">
                  <p:embed/>
                </p:oleObj>
              </mc:Choice>
              <mc:Fallback>
                <p:oleObj name="Worksheet" r:id="rId8" imgW="4114724" imgH="267660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217987" y="1352550"/>
                        <a:ext cx="3859213" cy="2513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3F25DE1B-2F56-4404-8EB4-F4801A0EF7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5445494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椭圆 7">
            <a:extLst>
              <a:ext uri="{FF2B5EF4-FFF2-40B4-BE49-F238E27FC236}">
                <a16:creationId xmlns:a16="http://schemas.microsoft.com/office/drawing/2014/main" id="{E54028F3-F763-4A51-9E38-F1A1FE24B57C}"/>
              </a:ext>
            </a:extLst>
          </p:cNvPr>
          <p:cNvSpPr/>
          <p:nvPr/>
        </p:nvSpPr>
        <p:spPr>
          <a:xfrm>
            <a:off x="1093788" y="708430"/>
            <a:ext cx="3124199" cy="23205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和第</a:t>
            </a:r>
            <a:r>
              <a:rPr lang="en-US" altLang="zh-CN" dirty="0"/>
              <a:t>2</a:t>
            </a:r>
            <a:r>
              <a:rPr lang="zh-CN" altLang="en-US" dirty="0"/>
              <a:t>页一样，需要输出</a:t>
            </a:r>
            <a:r>
              <a:rPr lang="en-US" altLang="zh-CN" dirty="0"/>
              <a:t>5</a:t>
            </a:r>
            <a:r>
              <a:rPr lang="zh-CN" altLang="en-US" dirty="0"/>
              <a:t>年，从当前时间往前推</a:t>
            </a:r>
            <a:r>
              <a:rPr lang="en-US" altLang="zh-CN" dirty="0"/>
              <a:t>5</a:t>
            </a:r>
            <a:r>
              <a:rPr lang="zh-CN" altLang="en-US" dirty="0"/>
              <a:t>年的时间，没有数据输出空值即可</a:t>
            </a:r>
            <a:endParaRPr lang="en-US" altLang="zh-CN" dirty="0"/>
          </a:p>
          <a:p>
            <a:pPr algn="ctr"/>
            <a:r>
              <a:rPr lang="zh-CN" altLang="en-US" dirty="0"/>
              <a:t>左右两个图同样情况</a:t>
            </a:r>
          </a:p>
        </p:txBody>
      </p:sp>
    </p:spTree>
    <p:extLst>
      <p:ext uri="{BB962C8B-B14F-4D97-AF65-F5344CB8AC3E}">
        <p14:creationId xmlns:p14="http://schemas.microsoft.com/office/powerpoint/2010/main" val="8273122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" name="对象 1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19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98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矩形 1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14309"/>
            <a:ext cx="4457700" cy="594121"/>
          </a:xfrm>
        </p:spPr>
        <p:txBody>
          <a:bodyPr>
            <a:normAutofit/>
          </a:bodyPr>
          <a:lstStyle/>
          <a:p>
            <a:r>
              <a:rPr lang="en-US" altLang="zh-CN" sz="2000" dirty="0"/>
              <a:t>Molecule performance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8</a:t>
            </a:fld>
            <a:endParaRPr lang="en-US" dirty="0">
              <a:ea typeface="+mn-ea"/>
            </a:endParaRPr>
          </a:p>
        </p:txBody>
      </p:sp>
      <p:graphicFrame>
        <p:nvGraphicFramePr>
          <p:cNvPr id="4" name="对象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28211663"/>
              </p:ext>
            </p:extLst>
          </p:nvPr>
        </p:nvGraphicFramePr>
        <p:xfrm>
          <a:off x="281781" y="1077913"/>
          <a:ext cx="8732838" cy="3100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99" name="Worksheet" r:id="rId8" imgW="7191495" imgH="2552762" progId="Excel.Sheet.12">
                  <p:embed/>
                </p:oleObj>
              </mc:Choice>
              <mc:Fallback>
                <p:oleObj name="Worksheet" r:id="rId8" imgW="7191495" imgH="255276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81781" y="1077913"/>
                        <a:ext cx="8732838" cy="3100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椭圆 4">
            <a:extLst>
              <a:ext uri="{FF2B5EF4-FFF2-40B4-BE49-F238E27FC236}">
                <a16:creationId xmlns:a16="http://schemas.microsoft.com/office/drawing/2014/main" id="{4D03B63B-6438-4E50-9F0D-E77950488891}"/>
              </a:ext>
            </a:extLst>
          </p:cNvPr>
          <p:cNvSpPr/>
          <p:nvPr/>
        </p:nvSpPr>
        <p:spPr>
          <a:xfrm>
            <a:off x="4648200" y="965200"/>
            <a:ext cx="762000" cy="3810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98F5880D-038B-4AF3-BD67-B4953B802ED4}"/>
              </a:ext>
            </a:extLst>
          </p:cNvPr>
          <p:cNvSpPr/>
          <p:nvPr/>
        </p:nvSpPr>
        <p:spPr>
          <a:xfrm>
            <a:off x="4191000" y="1346200"/>
            <a:ext cx="2362200" cy="168275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55471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" name="对象 1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19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6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矩形 1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14309"/>
            <a:ext cx="4457700" cy="594121"/>
          </a:xfrm>
        </p:spPr>
        <p:txBody>
          <a:bodyPr>
            <a:normAutofit/>
          </a:bodyPr>
          <a:lstStyle/>
          <a:p>
            <a:r>
              <a:rPr lang="en-US" altLang="zh-CN" sz="2000" dirty="0"/>
              <a:t>Molecule performance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9</a:t>
            </a:fld>
            <a:endParaRPr lang="en-US" dirty="0">
              <a:ea typeface="+mn-ea"/>
            </a:endParaRPr>
          </a:p>
        </p:txBody>
      </p:sp>
      <p:graphicFrame>
        <p:nvGraphicFramePr>
          <p:cNvPr id="4" name="对象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72785943"/>
              </p:ext>
            </p:extLst>
          </p:nvPr>
        </p:nvGraphicFramePr>
        <p:xfrm>
          <a:off x="304800" y="1077913"/>
          <a:ext cx="8618538" cy="3100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7" name="Worksheet" r:id="rId8" imgW="7095919" imgH="2552709" progId="Excel.Sheet.12">
                  <p:embed/>
                </p:oleObj>
              </mc:Choice>
              <mc:Fallback>
                <p:oleObj name="Worksheet" r:id="rId8" imgW="7095919" imgH="255270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04800" y="1077913"/>
                        <a:ext cx="8618538" cy="3100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椭圆 6">
            <a:extLst>
              <a:ext uri="{FF2B5EF4-FFF2-40B4-BE49-F238E27FC236}">
                <a16:creationId xmlns:a16="http://schemas.microsoft.com/office/drawing/2014/main" id="{A91B0F30-8D29-4380-A724-FFA7C90497AE}"/>
              </a:ext>
            </a:extLst>
          </p:cNvPr>
          <p:cNvSpPr/>
          <p:nvPr/>
        </p:nvSpPr>
        <p:spPr>
          <a:xfrm>
            <a:off x="4648200" y="965200"/>
            <a:ext cx="762000" cy="3810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4DE038F0-73EA-4AF4-B818-D86102708841}"/>
              </a:ext>
            </a:extLst>
          </p:cNvPr>
          <p:cNvSpPr/>
          <p:nvPr/>
        </p:nvSpPr>
        <p:spPr>
          <a:xfrm>
            <a:off x="4191000" y="1346200"/>
            <a:ext cx="2362200" cy="168275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0877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2.50022790000000050270E+00&quot;&gt;&lt;m_msothmcolidx val=&quot;0&quot;/&gt;&lt;m_rgb r=&quot;F8&quot; g=&quot;61&quot; b=&quot;05&quot;/&gt;&lt;m_nBrightness endver=&quot;26206&quot; val=&quot;0&quot;/&gt;&lt;/elem&gt;&lt;elem m_fUsage=&quot;1.53899999999999992362E+00&quot;&gt;&lt;m_msothmcolidx val=&quot;0&quot;/&gt;&lt;m_rgb r=&quot;97&quot; g=&quot;DB&quot; b=&quot;CA&quot;/&gt;&lt;m_nBrightness endver=&quot;26206&quot; val=&quot;0&quot;/&gt;&lt;/elem&gt;&lt;elem m_fUsage=&quot;1.00000000000000000000E+00&quot;&gt;&lt;m_msothmcolidx val=&quot;0&quot;/&gt;&lt;m_rgb r=&quot;F7&quot; g=&quot;CC&quot; b=&quot;8C&quot;/&gt;&lt;m_nBrightness endver=&quot;26206&quot; val=&quot;0&quot;/&gt;&lt;/elem&gt;&lt;elem m_fUsage=&quot;6.56100000000000127542E-01&quot;&gt;&lt;m_msothmcolidx val=&quot;0&quot;/&gt;&lt;m_rgb r=&quot;DF&quot; g=&quot;8B&quot; b=&quot;5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sjfVHYQXuMMv4NWDIN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sjfVHYQXuMMv4NWDIN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88wdKJl4uFm1Roaxqb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88wdKJl4uFm1Roaxqb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88wdKJl4uFm1Roaxqb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88wdKJl4uFm1Roaxqb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YCfl1.SulwGux6T0_A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YCfl1.SulwGux6T0_A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lpIW4owNI9vyy9vpxo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YCfl1.SulwGux6T0_As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YCfl1.SulwGux6T0_A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cIVZTKX9pC1jdReq0j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XJ.1KlYO5G0YRW1pOk.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XJ.1KlYO5G0YRW1pOk.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zz2PQmx2sp4Q_zx2f9P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zz2PQmx2sp4Q_zx2f9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WVefnkr5O6ieFBxKUN3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黄橙色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自定义 18">
      <a:majorFont>
        <a:latin typeface="Verdana"/>
        <a:ea typeface="等线"/>
        <a:cs typeface="Helvetica Neue Medium"/>
      </a:majorFont>
      <a:minorFont>
        <a:latin typeface="Verdana"/>
        <a:ea typeface="等线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ofile</Template>
  <TotalTime>30018</TotalTime>
  <Words>1148</Words>
  <Application>Microsoft Office PowerPoint</Application>
  <PresentationFormat>全屏显示(16:9)</PresentationFormat>
  <Paragraphs>269</Paragraphs>
  <Slides>44</Slides>
  <Notes>23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44</vt:i4>
      </vt:variant>
    </vt:vector>
  </HeadingPairs>
  <TitlesOfParts>
    <vt:vector size="51" baseType="lpstr">
      <vt:lpstr>等线</vt:lpstr>
      <vt:lpstr>Arial</vt:lpstr>
      <vt:lpstr>Verdana</vt:lpstr>
      <vt:lpstr>自定义设计方案</vt:lpstr>
      <vt:lpstr>think-cell 幻灯片</vt:lpstr>
      <vt:lpstr>Microsoft Excel 工作表</vt:lpstr>
      <vt:lpstr>Worksheet</vt:lpstr>
      <vt:lpstr>MAX Data Analysis</vt:lpstr>
      <vt:lpstr>Market value size</vt:lpstr>
      <vt:lpstr>Market volume size</vt:lpstr>
      <vt:lpstr>Sub-Market Value Share &amp; Growth _ MAT</vt:lpstr>
      <vt:lpstr>Sub-Market Volume Share &amp; Growth _ MAT</vt:lpstr>
      <vt:lpstr>Sub-Market Value Share &amp; Growth _ YTD</vt:lpstr>
      <vt:lpstr>Sub-Market Volume Share &amp; Growth _ YTD</vt:lpstr>
      <vt:lpstr>Molecule performance _ Value</vt:lpstr>
      <vt:lpstr>Molecule performance _ Volume</vt:lpstr>
      <vt:lpstr>Molecule trend by MTH _ Value</vt:lpstr>
      <vt:lpstr>Molecule trend by MTH _ Volume</vt:lpstr>
      <vt:lpstr>Molecule trend by MTH _ Value Share</vt:lpstr>
      <vt:lpstr>Molecule trend by MTH _ Volume Share</vt:lpstr>
      <vt:lpstr>Product ranking</vt:lpstr>
      <vt:lpstr>Product performance _ Value</vt:lpstr>
      <vt:lpstr>Product performance _ Volume</vt:lpstr>
      <vt:lpstr>Product trend by MTH _ Value</vt:lpstr>
      <vt:lpstr>Product trend by MTH _ Volume</vt:lpstr>
      <vt:lpstr>Product trend by MTH _ Value Share</vt:lpstr>
      <vt:lpstr>Product trend by MTH _ Volume Share</vt:lpstr>
      <vt:lpstr>Region performance _ MAT _ value</vt:lpstr>
      <vt:lpstr>Region performance _ MAT _ volume</vt:lpstr>
      <vt:lpstr>Region performance _ MAT _ value</vt:lpstr>
      <vt:lpstr>Region performance _ MAT _ volume</vt:lpstr>
      <vt:lpstr>Province performance _ MAT _ value</vt:lpstr>
      <vt:lpstr>Province performance _ MAT _ volume</vt:lpstr>
      <vt:lpstr>Competitors performance by province _ MAT _ value</vt:lpstr>
      <vt:lpstr>Competitors performance by province _ MAT _ volume</vt:lpstr>
      <vt:lpstr>City tiers</vt:lpstr>
      <vt:lpstr>Market size by city tier _ MAT _ value</vt:lpstr>
      <vt:lpstr>Market size by city tier _ MAT _ volume</vt:lpstr>
      <vt:lpstr>City Tier performance _ MAT _ value</vt:lpstr>
      <vt:lpstr>City Tier performance _ MAT _ volume</vt:lpstr>
      <vt:lpstr>Competitors performance by tier _ MAT _ value</vt:lpstr>
      <vt:lpstr>Competitors performance by tier _ MAT _ volume</vt:lpstr>
      <vt:lpstr>City performance _ MAT _ value</vt:lpstr>
      <vt:lpstr>City performance _ MAT _ value</vt:lpstr>
      <vt:lpstr>City performance _ MAT _ volume</vt:lpstr>
      <vt:lpstr>City performance _ MAT _ volume</vt:lpstr>
      <vt:lpstr>Competitors performance by city _ MAT _ value</vt:lpstr>
      <vt:lpstr>Competitors performance by city _ MAT _ volume</vt:lpstr>
      <vt:lpstr>Competitors performance by city _ MAT _ value</vt:lpstr>
      <vt:lpstr>Competitors performance by city _ MAT _ volume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NFO Consulting</dc:title>
  <dc:creator>pb</dc:creator>
  <cp:lastModifiedBy>WWB</cp:lastModifiedBy>
  <cp:revision>2931</cp:revision>
  <dcterms:created xsi:type="dcterms:W3CDTF">2009-04-27T10:02:40Z</dcterms:created>
  <dcterms:modified xsi:type="dcterms:W3CDTF">2020-05-28T10:46:17Z</dcterms:modified>
</cp:coreProperties>
</file>